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media/image6.jpg" ContentType="image/jpeg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media/image8.jpg" ContentType="image/jpeg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media/image10.jpg" ContentType="image/jpeg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heme/theme4.xml" ContentType="application/vnd.openxmlformats-officedocument.theme+xml"/>
  <Override PartName="/ppt/media/image14.jpg" ContentType="image/jpeg"/>
  <Override PartName="/ppt/tags/tag23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87" r:id="rId5"/>
    <p:sldMasterId id="2147483696" r:id="rId6"/>
  </p:sldMasterIdLst>
  <p:notesMasterIdLst>
    <p:notesMasterId r:id="rId15"/>
  </p:notesMasterIdLst>
  <p:sldIdLst>
    <p:sldId id="286" r:id="rId7"/>
    <p:sldId id="713" r:id="rId8"/>
    <p:sldId id="715" r:id="rId9"/>
    <p:sldId id="717" r:id="rId10"/>
    <p:sldId id="714" r:id="rId11"/>
    <p:sldId id="269" r:id="rId12"/>
    <p:sldId id="256" r:id="rId13"/>
    <p:sldId id="257" r:id="rId14"/>
  </p:sldIdLst>
  <p:sldSz cx="20104100" cy="11309350"/>
  <p:notesSz cx="10234613" cy="7104063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0099"/>
    <a:srgbClr val="E6007E"/>
    <a:srgbClr val="E3007D"/>
    <a:srgbClr val="99E6D8"/>
    <a:srgbClr val="2AA5E0"/>
    <a:srgbClr val="2222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1B0DF3-E7BD-4F58-BBAD-D39F182756B2}" v="48" dt="2024-06-12T08:12:03.179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89"/>
    <p:restoredTop sz="96327"/>
  </p:normalViewPr>
  <p:slideViewPr>
    <p:cSldViewPr>
      <p:cViewPr varScale="1">
        <p:scale>
          <a:sx n="38" d="100"/>
          <a:sy n="38" d="100"/>
        </p:scale>
        <p:origin x="1072" y="68"/>
      </p:cViewPr>
      <p:guideLst>
        <p:guide orient="horz" pos="2880"/>
        <p:guide pos="216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AFE4A8-2B2C-4D39-B4AF-018BAED19903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7DB98928-5C76-42AE-B23F-C86E7E254518}">
      <dgm:prSet phldrT="[Text]" custT="1"/>
      <dgm:spPr/>
      <dgm:t>
        <a:bodyPr anchor="ctr"/>
        <a:lstStyle/>
        <a:p>
          <a:pPr marL="182563" indent="0"/>
          <a:r>
            <a:rPr lang="de-DE" sz="1800" b="1" noProof="0" dirty="0"/>
            <a:t>Netzentgelte</a:t>
          </a:r>
        </a:p>
      </dgm:t>
    </dgm:pt>
    <dgm:pt modelId="{60BF2FDC-FE4E-427F-9C28-EF91CB4AAE65}" type="parTrans" cxnId="{5A903B38-9528-4116-A70A-5441F6218E0E}">
      <dgm:prSet/>
      <dgm:spPr/>
      <dgm:t>
        <a:bodyPr/>
        <a:lstStyle/>
        <a:p>
          <a:endParaRPr lang="en-GB" sz="2400"/>
        </a:p>
      </dgm:t>
    </dgm:pt>
    <dgm:pt modelId="{9E4B5CBB-E8D1-47C5-B419-5C375D11566B}" type="sibTrans" cxnId="{5A903B38-9528-4116-A70A-5441F6218E0E}">
      <dgm:prSet/>
      <dgm:spPr/>
      <dgm:t>
        <a:bodyPr/>
        <a:lstStyle/>
        <a:p>
          <a:endParaRPr lang="en-GB" sz="2400"/>
        </a:p>
      </dgm:t>
    </dgm:pt>
    <dgm:pt modelId="{08CE61B3-A3B3-4373-86B7-858983D5C17E}">
      <dgm:prSet phldrT="[Text]" custT="1"/>
      <dgm:spPr/>
      <dgm:t>
        <a:bodyPr anchor="ctr"/>
        <a:lstStyle/>
        <a:p>
          <a:pPr marL="360363" indent="-1841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b="1" noProof="0" dirty="0"/>
            <a:t>Befreiungstatbestand</a:t>
          </a:r>
          <a:r>
            <a:rPr lang="de-DE" sz="1800" noProof="0" dirty="0"/>
            <a:t> nach § 118 Abs. 6 EnWG von IBN bis 2029 abhängig</a:t>
          </a:r>
        </a:p>
      </dgm:t>
    </dgm:pt>
    <dgm:pt modelId="{FFA5780A-F72C-4D0B-930C-E3FEDF23E7EA}" type="parTrans" cxnId="{6D5A67DF-0EDE-4E4D-A43B-CFAB7C9B09E1}">
      <dgm:prSet/>
      <dgm:spPr/>
      <dgm:t>
        <a:bodyPr/>
        <a:lstStyle/>
        <a:p>
          <a:endParaRPr lang="en-GB" sz="2400"/>
        </a:p>
      </dgm:t>
    </dgm:pt>
    <dgm:pt modelId="{B93C9BB4-4EEA-48C5-B5BE-2DF8A26512EC}" type="sibTrans" cxnId="{6D5A67DF-0EDE-4E4D-A43B-CFAB7C9B09E1}">
      <dgm:prSet/>
      <dgm:spPr/>
      <dgm:t>
        <a:bodyPr/>
        <a:lstStyle/>
        <a:p>
          <a:endParaRPr lang="en-GB" sz="2400"/>
        </a:p>
      </dgm:t>
    </dgm:pt>
    <dgm:pt modelId="{B12A732B-0014-4837-AF42-FF4D555EFF95}">
      <dgm:prSet phldrT="[Text]" custT="1"/>
      <dgm:spPr/>
      <dgm:t>
        <a:bodyPr anchor="ctr"/>
        <a:lstStyle/>
        <a:p>
          <a:pPr marL="182563" indent="0"/>
          <a:r>
            <a:rPr lang="de-DE" sz="1800" b="1" noProof="0" dirty="0"/>
            <a:t>Netzanschluss</a:t>
          </a:r>
        </a:p>
      </dgm:t>
    </dgm:pt>
    <dgm:pt modelId="{810C8693-5936-436B-86EA-15D408E83A19}" type="parTrans" cxnId="{D87E56F9-B86A-4626-890D-4CC584B23DD9}">
      <dgm:prSet/>
      <dgm:spPr/>
      <dgm:t>
        <a:bodyPr/>
        <a:lstStyle/>
        <a:p>
          <a:endParaRPr lang="en-GB" sz="2400"/>
        </a:p>
      </dgm:t>
    </dgm:pt>
    <dgm:pt modelId="{E2985075-65E8-433F-9DD7-2F97C245662E}" type="sibTrans" cxnId="{D87E56F9-B86A-4626-890D-4CC584B23DD9}">
      <dgm:prSet/>
      <dgm:spPr/>
      <dgm:t>
        <a:bodyPr/>
        <a:lstStyle/>
        <a:p>
          <a:endParaRPr lang="en-GB" sz="2400"/>
        </a:p>
      </dgm:t>
    </dgm:pt>
    <dgm:pt modelId="{A80B1833-E586-431D-9382-37EAD7AB7B8A}">
      <dgm:prSet phldrT="[Text]" custT="1"/>
      <dgm:spPr/>
      <dgm:t>
        <a:bodyPr anchor="ctr"/>
        <a:lstStyle/>
        <a:p>
          <a:pPr marL="360363" indent="-1841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b="1" noProof="0" dirty="0"/>
            <a:t>Kein privilegierter Netzanschluss</a:t>
          </a:r>
          <a:r>
            <a:rPr lang="de-DE" sz="1800" noProof="0" dirty="0"/>
            <a:t> von Batteriespeichern (im Solarpaket I klargestellt)</a:t>
          </a:r>
        </a:p>
      </dgm:t>
    </dgm:pt>
    <dgm:pt modelId="{520F694E-1E3D-4B4E-BE0B-A09C67EAF59C}" type="parTrans" cxnId="{7827C0F8-300E-4AE5-AC34-B1C1D8F5C567}">
      <dgm:prSet/>
      <dgm:spPr/>
      <dgm:t>
        <a:bodyPr/>
        <a:lstStyle/>
        <a:p>
          <a:endParaRPr lang="en-GB" sz="2400"/>
        </a:p>
      </dgm:t>
    </dgm:pt>
    <dgm:pt modelId="{321452C0-FCB5-4321-B53D-8B478D9A13FF}" type="sibTrans" cxnId="{7827C0F8-300E-4AE5-AC34-B1C1D8F5C567}">
      <dgm:prSet/>
      <dgm:spPr/>
      <dgm:t>
        <a:bodyPr/>
        <a:lstStyle/>
        <a:p>
          <a:endParaRPr lang="en-GB" sz="2400"/>
        </a:p>
      </dgm:t>
    </dgm:pt>
    <dgm:pt modelId="{37B9FE17-76D0-45F8-BF16-261355D3D20C}">
      <dgm:prSet phldrT="[Text]" custT="1"/>
      <dgm:spPr/>
      <dgm:t>
        <a:bodyPr anchor="ctr"/>
        <a:lstStyle/>
        <a:p>
          <a:pPr marL="360363" indent="-1841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b="1" noProof="0" dirty="0"/>
            <a:t>Kein Anspruch auf „Überbau“ </a:t>
          </a:r>
          <a:r>
            <a:rPr lang="de-DE" sz="1800" noProof="0" dirty="0"/>
            <a:t>von Netzanschlüssen bei </a:t>
          </a:r>
          <a:r>
            <a:rPr lang="de-DE" sz="1800" noProof="0" dirty="0" err="1"/>
            <a:t>co-located</a:t>
          </a:r>
          <a:r>
            <a:rPr lang="de-DE" sz="1800" noProof="0" dirty="0"/>
            <a:t> Anlagenkombination (PV/Wind und Batteriespeicher) </a:t>
          </a:r>
        </a:p>
      </dgm:t>
    </dgm:pt>
    <dgm:pt modelId="{3ABB8CC5-8DD3-41FC-9FE9-84AA6176B74A}" type="parTrans" cxnId="{532FD0D0-000F-4504-A5CB-8C533DBDF3AB}">
      <dgm:prSet/>
      <dgm:spPr/>
      <dgm:t>
        <a:bodyPr/>
        <a:lstStyle/>
        <a:p>
          <a:endParaRPr lang="en-GB" sz="2400"/>
        </a:p>
      </dgm:t>
    </dgm:pt>
    <dgm:pt modelId="{C760DBD6-0E13-4A08-BD1A-7A3D3FD4A1BB}" type="sibTrans" cxnId="{532FD0D0-000F-4504-A5CB-8C533DBDF3AB}">
      <dgm:prSet/>
      <dgm:spPr/>
      <dgm:t>
        <a:bodyPr/>
        <a:lstStyle/>
        <a:p>
          <a:endParaRPr lang="en-GB" sz="2400"/>
        </a:p>
      </dgm:t>
    </dgm:pt>
    <dgm:pt modelId="{DB990F54-FCC2-46D3-9089-CAC148E3E3ED}">
      <dgm:prSet phldrT="[Text]" custT="1"/>
      <dgm:spPr/>
      <dgm:t>
        <a:bodyPr anchor="ctr"/>
        <a:lstStyle/>
        <a:p>
          <a:pPr marL="182563" indent="0"/>
          <a:r>
            <a:rPr lang="de-DE" sz="1800" b="1" noProof="0" dirty="0"/>
            <a:t>Baukostenzuschuss</a:t>
          </a:r>
        </a:p>
      </dgm:t>
    </dgm:pt>
    <dgm:pt modelId="{DEB55524-C908-428D-9F59-7AC2F2666465}" type="parTrans" cxnId="{2B24108B-1939-443D-8276-73CF0FD327B6}">
      <dgm:prSet/>
      <dgm:spPr/>
      <dgm:t>
        <a:bodyPr/>
        <a:lstStyle/>
        <a:p>
          <a:endParaRPr lang="en-GB" sz="2400"/>
        </a:p>
      </dgm:t>
    </dgm:pt>
    <dgm:pt modelId="{81B88696-5E5A-475E-B846-83624435FD94}" type="sibTrans" cxnId="{2B24108B-1939-443D-8276-73CF0FD327B6}">
      <dgm:prSet/>
      <dgm:spPr/>
      <dgm:t>
        <a:bodyPr/>
        <a:lstStyle/>
        <a:p>
          <a:endParaRPr lang="en-GB" sz="2400"/>
        </a:p>
      </dgm:t>
    </dgm:pt>
    <dgm:pt modelId="{4A52C1D0-CBCE-4BA5-9A7E-2C0CCAEA9545}">
      <dgm:prSet phldrT="[Text]" custT="1"/>
      <dgm:spPr/>
      <dgm:t>
        <a:bodyPr anchor="ctr"/>
        <a:lstStyle/>
        <a:p>
          <a:pPr marL="360363" indent="-1841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noProof="0" dirty="0"/>
            <a:t>Unabhängig von BGH-Entscheidung: Keine einheitliche Praxis der Netzbetreiber für BESS &gt; 100 MW auf Hochspannungsebene</a:t>
          </a:r>
        </a:p>
      </dgm:t>
    </dgm:pt>
    <dgm:pt modelId="{00FC1A94-AF62-443E-AEB8-845EF57221F8}" type="parTrans" cxnId="{D8650834-391F-4176-AF88-D2AB7020A4E3}">
      <dgm:prSet/>
      <dgm:spPr/>
      <dgm:t>
        <a:bodyPr/>
        <a:lstStyle/>
        <a:p>
          <a:endParaRPr lang="en-GB" sz="2400"/>
        </a:p>
      </dgm:t>
    </dgm:pt>
    <dgm:pt modelId="{5259C187-4E94-40C9-8E47-75E053463B52}" type="sibTrans" cxnId="{D8650834-391F-4176-AF88-D2AB7020A4E3}">
      <dgm:prSet/>
      <dgm:spPr/>
      <dgm:t>
        <a:bodyPr/>
        <a:lstStyle/>
        <a:p>
          <a:endParaRPr lang="en-GB" sz="2400"/>
        </a:p>
      </dgm:t>
    </dgm:pt>
    <dgm:pt modelId="{D9E6D542-ED8E-4E9B-A3F7-CD250C439293}">
      <dgm:prSet phldrT="[Text]" custT="1"/>
      <dgm:spPr/>
      <dgm:t>
        <a:bodyPr anchor="ctr"/>
        <a:lstStyle/>
        <a:p>
          <a:pPr marL="360363" indent="-1841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noProof="0" dirty="0"/>
            <a:t>Zuständigkeit für Neufestlegung bei BNetzA, jedoch gesetzlich verankerte Frist zur Festlegung denkbar</a:t>
          </a:r>
        </a:p>
      </dgm:t>
    </dgm:pt>
    <dgm:pt modelId="{3297DB80-B77F-47AF-A018-287D7A1F1C88}" type="parTrans" cxnId="{ED789FEF-6752-4B08-8C8E-9184364D2118}">
      <dgm:prSet/>
      <dgm:spPr/>
      <dgm:t>
        <a:bodyPr/>
        <a:lstStyle/>
        <a:p>
          <a:endParaRPr lang="en-GB" sz="2400"/>
        </a:p>
      </dgm:t>
    </dgm:pt>
    <dgm:pt modelId="{ED8B7760-205D-44CD-893D-E399E3F3793E}" type="sibTrans" cxnId="{ED789FEF-6752-4B08-8C8E-9184364D2118}">
      <dgm:prSet/>
      <dgm:spPr/>
      <dgm:t>
        <a:bodyPr/>
        <a:lstStyle/>
        <a:p>
          <a:endParaRPr lang="en-GB" sz="2400"/>
        </a:p>
      </dgm:t>
    </dgm:pt>
    <dgm:pt modelId="{A961C944-6C90-4697-9666-F6C15EAF93C6}">
      <dgm:prSet phldrT="[Text]" custT="1"/>
      <dgm:spPr/>
      <dgm:t>
        <a:bodyPr anchor="ctr"/>
        <a:lstStyle/>
        <a:p>
          <a:pPr marL="176213" indent="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noProof="0" dirty="0"/>
            <a:t>Für Speicher &gt; 100 MW auf Hochspannungsebene ist </a:t>
          </a:r>
          <a:r>
            <a:rPr lang="de-DE" sz="1800" b="1" noProof="0" dirty="0"/>
            <a:t>Netzanschlussrechtsregime </a:t>
          </a:r>
          <a:r>
            <a:rPr lang="de-DE" sz="1800" noProof="0" dirty="0"/>
            <a:t>nicht klar (</a:t>
          </a:r>
          <a:r>
            <a:rPr lang="de-DE" sz="1800" noProof="0" dirty="0" err="1"/>
            <a:t>KraftNAV</a:t>
          </a:r>
          <a:r>
            <a:rPr lang="de-DE" sz="1800" noProof="0" dirty="0"/>
            <a:t> oder § 17 EnWG?)  </a:t>
          </a:r>
        </a:p>
      </dgm:t>
    </dgm:pt>
    <dgm:pt modelId="{42A26101-A404-402A-B59C-2F7A10872473}" type="parTrans" cxnId="{C81BAC3C-3279-4CFA-8348-7371AE28D62E}">
      <dgm:prSet/>
      <dgm:spPr/>
      <dgm:t>
        <a:bodyPr/>
        <a:lstStyle/>
        <a:p>
          <a:endParaRPr lang="en-GB" sz="2400"/>
        </a:p>
      </dgm:t>
    </dgm:pt>
    <dgm:pt modelId="{8925D174-A7AA-4C0D-934E-F0C606DD1E50}" type="sibTrans" cxnId="{C81BAC3C-3279-4CFA-8348-7371AE28D62E}">
      <dgm:prSet/>
      <dgm:spPr/>
      <dgm:t>
        <a:bodyPr/>
        <a:lstStyle/>
        <a:p>
          <a:endParaRPr lang="en-GB" sz="2400"/>
        </a:p>
      </dgm:t>
    </dgm:pt>
    <dgm:pt modelId="{76310FAD-2F50-4D77-A577-606999346D01}">
      <dgm:prSet phldrT="[Text]" custT="1"/>
      <dgm:spPr/>
      <dgm:t>
        <a:bodyPr anchor="ctr"/>
        <a:lstStyle/>
        <a:p>
          <a:pPr marL="360363" indent="-1841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noProof="0" dirty="0"/>
            <a:t>Führt in der Praxis zu Unsicherheit bei Investoren und </a:t>
          </a:r>
          <a:r>
            <a:rPr lang="de-DE" sz="1800" b="1" noProof="0" dirty="0"/>
            <a:t>Marktverzerrungen</a:t>
          </a:r>
          <a:r>
            <a:rPr lang="de-DE" sz="1800" noProof="0" dirty="0"/>
            <a:t> bei Projekten mit IBN vor und nach 2029</a:t>
          </a:r>
        </a:p>
      </dgm:t>
    </dgm:pt>
    <dgm:pt modelId="{C2683F17-EC05-4653-A53B-2A89BED657FA}" type="parTrans" cxnId="{7D98423E-5739-4582-9004-1F40CF5ACD3A}">
      <dgm:prSet/>
      <dgm:spPr/>
      <dgm:t>
        <a:bodyPr/>
        <a:lstStyle/>
        <a:p>
          <a:endParaRPr lang="en-GB" sz="2400"/>
        </a:p>
      </dgm:t>
    </dgm:pt>
    <dgm:pt modelId="{0433A4A7-F8B8-44A3-BC39-E7E4279B3529}" type="sibTrans" cxnId="{7D98423E-5739-4582-9004-1F40CF5ACD3A}">
      <dgm:prSet/>
      <dgm:spPr/>
      <dgm:t>
        <a:bodyPr/>
        <a:lstStyle/>
        <a:p>
          <a:endParaRPr lang="en-GB" sz="2400"/>
        </a:p>
      </dgm:t>
    </dgm:pt>
    <dgm:pt modelId="{034771D1-14F1-43C6-832F-9D2DCC0DCB21}">
      <dgm:prSet phldrT="[Text]" custT="1"/>
      <dgm:spPr/>
      <dgm:t>
        <a:bodyPr anchor="ctr"/>
        <a:lstStyle/>
        <a:p>
          <a:pPr marL="360363" indent="-1841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noProof="0" dirty="0"/>
            <a:t>Zuständigkeit bei BNetzA, jedoch gesetzliche Verankerung eines </a:t>
          </a:r>
          <a:r>
            <a:rPr lang="de-DE" sz="1800" b="1" noProof="0" dirty="0"/>
            <a:t>Festlegungszeitpunkts</a:t>
          </a:r>
          <a:r>
            <a:rPr lang="de-DE" sz="1800" noProof="0" dirty="0"/>
            <a:t> denkbar </a:t>
          </a:r>
        </a:p>
      </dgm:t>
    </dgm:pt>
    <dgm:pt modelId="{B42FA312-CAC3-4FD3-8B48-E67AC116253B}" type="parTrans" cxnId="{D860E44B-28B3-41C1-BAFD-FE499F0A0AE1}">
      <dgm:prSet/>
      <dgm:spPr/>
      <dgm:t>
        <a:bodyPr/>
        <a:lstStyle/>
        <a:p>
          <a:endParaRPr lang="en-GB" sz="2400"/>
        </a:p>
      </dgm:t>
    </dgm:pt>
    <dgm:pt modelId="{46A43B98-0D26-4C31-9EAD-5929388A808E}" type="sibTrans" cxnId="{D860E44B-28B3-41C1-BAFD-FE499F0A0AE1}">
      <dgm:prSet/>
      <dgm:spPr/>
      <dgm:t>
        <a:bodyPr/>
        <a:lstStyle/>
        <a:p>
          <a:endParaRPr lang="en-GB" sz="2400"/>
        </a:p>
      </dgm:t>
    </dgm:pt>
    <dgm:pt modelId="{1A053809-A5C3-48EA-BEC0-BB3F5B88D625}">
      <dgm:prSet phldrT="[Text]" custT="1"/>
      <dgm:spPr/>
      <dgm:t>
        <a:bodyPr anchor="ctr"/>
        <a:lstStyle/>
        <a:p>
          <a:pPr marL="182563" indent="-63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b="1" noProof="0" dirty="0"/>
            <a:t>Privilegierung im Außenbereich</a:t>
          </a:r>
        </a:p>
      </dgm:t>
    </dgm:pt>
    <dgm:pt modelId="{6C2A0C80-BC24-4208-BFCF-5EF473121CF9}" type="parTrans" cxnId="{53166088-53FC-4740-B81D-F3E85242FB4A}">
      <dgm:prSet/>
      <dgm:spPr/>
      <dgm:t>
        <a:bodyPr/>
        <a:lstStyle/>
        <a:p>
          <a:endParaRPr lang="en-GB" sz="2400"/>
        </a:p>
      </dgm:t>
    </dgm:pt>
    <dgm:pt modelId="{8EB652AD-C777-40B6-94C6-1B9F6B56A5EF}" type="sibTrans" cxnId="{53166088-53FC-4740-B81D-F3E85242FB4A}">
      <dgm:prSet/>
      <dgm:spPr/>
      <dgm:t>
        <a:bodyPr/>
        <a:lstStyle/>
        <a:p>
          <a:endParaRPr lang="en-GB" sz="2400"/>
        </a:p>
      </dgm:t>
    </dgm:pt>
    <dgm:pt modelId="{3534B797-E4E3-49E3-BB14-E250CBF85B12}">
      <dgm:prSet phldrT="[Text]" custT="1"/>
      <dgm:spPr/>
      <dgm:t>
        <a:bodyPr anchor="ctr"/>
        <a:lstStyle/>
        <a:p>
          <a:pPr marL="360363" indent="-1841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noProof="0" dirty="0"/>
            <a:t>Genehmigungsbehörden subsummieren Batteriespeicher mehrheitlich unter § 35 Abs. 1 Nr. 3 BauGB</a:t>
          </a:r>
        </a:p>
      </dgm:t>
    </dgm:pt>
    <dgm:pt modelId="{36C862E1-2345-478F-A929-2F69CAF2B25F}" type="parTrans" cxnId="{FEF5BEFD-5E71-45C7-ABE8-F475FFF31C9C}">
      <dgm:prSet/>
      <dgm:spPr/>
      <dgm:t>
        <a:bodyPr/>
        <a:lstStyle/>
        <a:p>
          <a:endParaRPr lang="en-GB" sz="2400"/>
        </a:p>
      </dgm:t>
    </dgm:pt>
    <dgm:pt modelId="{3FC87798-7A24-4352-A5C8-6D2948464D55}" type="sibTrans" cxnId="{FEF5BEFD-5E71-45C7-ABE8-F475FFF31C9C}">
      <dgm:prSet/>
      <dgm:spPr/>
      <dgm:t>
        <a:bodyPr/>
        <a:lstStyle/>
        <a:p>
          <a:endParaRPr lang="en-GB" sz="2400"/>
        </a:p>
      </dgm:t>
    </dgm:pt>
    <dgm:pt modelId="{DA818377-250A-47D3-9BBE-4AFF8BBD403E}">
      <dgm:prSet phldrT="[Text]" custT="1"/>
      <dgm:spPr/>
      <dgm:t>
        <a:bodyPr anchor="ctr"/>
        <a:lstStyle/>
        <a:p>
          <a:pPr marL="182563" indent="-63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b="1" noProof="0" dirty="0"/>
            <a:t>Ausschließlichkeits-</a:t>
          </a:r>
        </a:p>
        <a:p>
          <a:pPr marL="182563" indent="-63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b="1" noProof="0" dirty="0" err="1"/>
            <a:t>prinzip</a:t>
          </a:r>
          <a:endParaRPr lang="de-DE" sz="1800" b="1" noProof="0" dirty="0"/>
        </a:p>
      </dgm:t>
    </dgm:pt>
    <dgm:pt modelId="{D901DD44-8819-4046-A173-FFD60B014FD8}" type="parTrans" cxnId="{D44D8554-CC42-4EDA-8FD6-497D255B6134}">
      <dgm:prSet/>
      <dgm:spPr/>
      <dgm:t>
        <a:bodyPr/>
        <a:lstStyle/>
        <a:p>
          <a:endParaRPr lang="en-GB" sz="2400"/>
        </a:p>
      </dgm:t>
    </dgm:pt>
    <dgm:pt modelId="{A22759D2-B8B9-489C-A8BE-1DAD3B4F5A30}" type="sibTrans" cxnId="{D44D8554-CC42-4EDA-8FD6-497D255B6134}">
      <dgm:prSet/>
      <dgm:spPr/>
      <dgm:t>
        <a:bodyPr/>
        <a:lstStyle/>
        <a:p>
          <a:endParaRPr lang="en-GB" sz="2400"/>
        </a:p>
      </dgm:t>
    </dgm:pt>
    <dgm:pt modelId="{B2FAD836-E33D-4FFB-BE35-45A8A81A1FE2}">
      <dgm:prSet phldrT="[Text]" custT="1"/>
      <dgm:spPr/>
      <dgm:t>
        <a:bodyPr anchor="ctr"/>
        <a:lstStyle/>
        <a:p>
          <a:pPr marL="360363" indent="-1841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noProof="0" dirty="0"/>
            <a:t>Adressiert im Solarpaket I </a:t>
          </a:r>
        </a:p>
      </dgm:t>
    </dgm:pt>
    <dgm:pt modelId="{7CF2BCC8-120A-4C8F-BBD0-754F5451A710}" type="parTrans" cxnId="{1AEB09DB-4067-48F9-B17E-9CB46C61C1A4}">
      <dgm:prSet/>
      <dgm:spPr/>
      <dgm:t>
        <a:bodyPr/>
        <a:lstStyle/>
        <a:p>
          <a:endParaRPr lang="en-GB" sz="2400"/>
        </a:p>
      </dgm:t>
    </dgm:pt>
    <dgm:pt modelId="{A6F10F31-D14F-4C96-B677-B7AB5D8E6FC0}" type="sibTrans" cxnId="{1AEB09DB-4067-48F9-B17E-9CB46C61C1A4}">
      <dgm:prSet/>
      <dgm:spPr/>
      <dgm:t>
        <a:bodyPr/>
        <a:lstStyle/>
        <a:p>
          <a:endParaRPr lang="en-GB" sz="2400"/>
        </a:p>
      </dgm:t>
    </dgm:pt>
    <dgm:pt modelId="{AEF291F3-7D93-4AB7-B3FF-940CDCD42DE0}">
      <dgm:prSet phldrT="[Text]" custT="1"/>
      <dgm:spPr/>
      <dgm:t>
        <a:bodyPr anchor="ctr"/>
        <a:lstStyle/>
        <a:p>
          <a:pPr marL="360363" indent="-1841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noProof="0" dirty="0"/>
            <a:t>Wünschenswert, dass Frist BNetzA nicht bis Juni 2026 ausschöpft</a:t>
          </a:r>
        </a:p>
      </dgm:t>
    </dgm:pt>
    <dgm:pt modelId="{B3976C7D-C3C6-4EE9-AE06-BF612519CBB2}" type="parTrans" cxnId="{079DF734-9112-4401-A6F0-C01769871C80}">
      <dgm:prSet/>
      <dgm:spPr/>
      <dgm:t>
        <a:bodyPr/>
        <a:lstStyle/>
        <a:p>
          <a:endParaRPr lang="en-GB" sz="2400"/>
        </a:p>
      </dgm:t>
    </dgm:pt>
    <dgm:pt modelId="{DB0B006B-714F-4163-BD10-2C28AF0C3BCF}" type="sibTrans" cxnId="{079DF734-9112-4401-A6F0-C01769871C80}">
      <dgm:prSet/>
      <dgm:spPr/>
      <dgm:t>
        <a:bodyPr/>
        <a:lstStyle/>
        <a:p>
          <a:endParaRPr lang="en-GB" sz="2400"/>
        </a:p>
      </dgm:t>
    </dgm:pt>
    <dgm:pt modelId="{D75F851C-3D9F-4F79-BF11-498EC8850F69}">
      <dgm:prSet phldrT="[Text]" custT="1"/>
      <dgm:spPr/>
      <dgm:t>
        <a:bodyPr/>
        <a:lstStyle/>
        <a:p>
          <a:pPr marL="360363" indent="-1841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noProof="0" dirty="0"/>
            <a:t>Klarstellung erforderlich, dass bestehende Konzepte (Energieflussrichtungssensoren) vor BNetzA-Festlegung zulässig bleiben </a:t>
          </a:r>
        </a:p>
      </dgm:t>
    </dgm:pt>
    <dgm:pt modelId="{B2C3CB7A-C2C8-46BD-A6B5-327BE0821B2A}" type="parTrans" cxnId="{F29EAE85-001D-4BE3-9653-831A54DB974D}">
      <dgm:prSet/>
      <dgm:spPr/>
      <dgm:t>
        <a:bodyPr/>
        <a:lstStyle/>
        <a:p>
          <a:endParaRPr lang="en-GB" sz="2400"/>
        </a:p>
      </dgm:t>
    </dgm:pt>
    <dgm:pt modelId="{C4E26BEC-A2B1-44AA-BC32-31CBA8331589}" type="sibTrans" cxnId="{F29EAE85-001D-4BE3-9653-831A54DB974D}">
      <dgm:prSet/>
      <dgm:spPr/>
      <dgm:t>
        <a:bodyPr/>
        <a:lstStyle/>
        <a:p>
          <a:endParaRPr lang="en-GB" sz="2400"/>
        </a:p>
      </dgm:t>
    </dgm:pt>
    <dgm:pt modelId="{37FA8917-0621-494C-BB81-64E80E75ECD2}">
      <dgm:prSet phldrT="[Text]" custT="1"/>
      <dgm:spPr/>
      <dgm:t>
        <a:bodyPr anchor="ctr"/>
        <a:lstStyle/>
        <a:p>
          <a:pPr marL="360363" indent="-1841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noProof="0" dirty="0"/>
            <a:t>Dennoch Rechtsunsicherheit hinsichtlich des Merkmals der Ortgebundenheit, § 11c EnWG enthält „lediglich“ Abwägungsvorrang</a:t>
          </a:r>
        </a:p>
      </dgm:t>
    </dgm:pt>
    <dgm:pt modelId="{3A2A0996-AD49-4FD3-B462-C7AAD92D13BB}" type="parTrans" cxnId="{BB11E4F5-9C89-4DCA-8B06-C2DADF119726}">
      <dgm:prSet/>
      <dgm:spPr/>
      <dgm:t>
        <a:bodyPr/>
        <a:lstStyle/>
        <a:p>
          <a:endParaRPr lang="en-GB"/>
        </a:p>
      </dgm:t>
    </dgm:pt>
    <dgm:pt modelId="{C9D45194-B4BD-4127-AA31-3F039FD9568A}" type="sibTrans" cxnId="{BB11E4F5-9C89-4DCA-8B06-C2DADF119726}">
      <dgm:prSet/>
      <dgm:spPr/>
      <dgm:t>
        <a:bodyPr/>
        <a:lstStyle/>
        <a:p>
          <a:endParaRPr lang="en-GB"/>
        </a:p>
      </dgm:t>
    </dgm:pt>
    <dgm:pt modelId="{09F2E791-0EE0-461D-B0D1-C18CF8368FA4}">
      <dgm:prSet phldrT="[Text]" custT="1"/>
      <dgm:spPr/>
      <dgm:t>
        <a:bodyPr anchor="ctr"/>
        <a:lstStyle/>
        <a:p>
          <a:pPr marL="360363" indent="-184150">
            <a:spcBef>
              <a:spcPts val="600"/>
            </a:spcBef>
            <a:spcAft>
              <a:spcPts val="600"/>
            </a:spcAft>
            <a:buFont typeface="Wingdings" panose="05000000000000000000" pitchFamily="2" charset="2"/>
            <a:buChar char="§"/>
          </a:pPr>
          <a:r>
            <a:rPr lang="de-DE" sz="1800" noProof="0"/>
            <a:t>Klarstellung </a:t>
          </a:r>
          <a:r>
            <a:rPr lang="de-DE" sz="1800" noProof="0" dirty="0"/>
            <a:t>wünschenswert  </a:t>
          </a:r>
        </a:p>
      </dgm:t>
    </dgm:pt>
    <dgm:pt modelId="{33C2ABBD-F6A9-446F-84F1-7C58146419F0}" type="parTrans" cxnId="{D5F90BC5-9C37-44AB-A1E3-C77BFCD0CD97}">
      <dgm:prSet/>
      <dgm:spPr/>
      <dgm:t>
        <a:bodyPr/>
        <a:lstStyle/>
        <a:p>
          <a:endParaRPr lang="en-GB"/>
        </a:p>
      </dgm:t>
    </dgm:pt>
    <dgm:pt modelId="{138A1372-A5E5-4BA6-BB39-11AD24C53A8C}" type="sibTrans" cxnId="{D5F90BC5-9C37-44AB-A1E3-C77BFCD0CD97}">
      <dgm:prSet/>
      <dgm:spPr/>
      <dgm:t>
        <a:bodyPr/>
        <a:lstStyle/>
        <a:p>
          <a:endParaRPr lang="en-GB"/>
        </a:p>
      </dgm:t>
    </dgm:pt>
    <dgm:pt modelId="{5548176F-51C8-471D-BD66-BB8DEB89382A}" type="pres">
      <dgm:prSet presAssocID="{1EAFE4A8-2B2C-4D39-B4AF-018BAED19903}" presName="vert0" presStyleCnt="0">
        <dgm:presLayoutVars>
          <dgm:dir/>
          <dgm:animOne val="branch"/>
          <dgm:animLvl val="lvl"/>
        </dgm:presLayoutVars>
      </dgm:prSet>
      <dgm:spPr/>
    </dgm:pt>
    <dgm:pt modelId="{E697C447-9D26-480E-9849-E52F50096E6B}" type="pres">
      <dgm:prSet presAssocID="{7DB98928-5C76-42AE-B23F-C86E7E254518}" presName="thickLine" presStyleLbl="alignNode1" presStyleIdx="0" presStyleCnt="5"/>
      <dgm:spPr/>
    </dgm:pt>
    <dgm:pt modelId="{7D68517C-36A6-45FB-90ED-32923E6539DF}" type="pres">
      <dgm:prSet presAssocID="{7DB98928-5C76-42AE-B23F-C86E7E254518}" presName="horz1" presStyleCnt="0"/>
      <dgm:spPr/>
    </dgm:pt>
    <dgm:pt modelId="{63D3A486-F9D6-4605-93C1-EBF712B7A079}" type="pres">
      <dgm:prSet presAssocID="{7DB98928-5C76-42AE-B23F-C86E7E254518}" presName="tx1" presStyleLbl="revTx" presStyleIdx="0" presStyleCnt="19"/>
      <dgm:spPr/>
    </dgm:pt>
    <dgm:pt modelId="{FF37A776-2BDB-4FE9-BE67-F186718B5893}" type="pres">
      <dgm:prSet presAssocID="{7DB98928-5C76-42AE-B23F-C86E7E254518}" presName="vert1" presStyleCnt="0"/>
      <dgm:spPr/>
    </dgm:pt>
    <dgm:pt modelId="{D0856485-8F80-462A-BA0F-1D2CB0B766A4}" type="pres">
      <dgm:prSet presAssocID="{08CE61B3-A3B3-4373-86B7-858983D5C17E}" presName="vertSpace2a" presStyleCnt="0"/>
      <dgm:spPr/>
    </dgm:pt>
    <dgm:pt modelId="{9AC47248-C761-4D40-BE39-7BE24CE537C5}" type="pres">
      <dgm:prSet presAssocID="{08CE61B3-A3B3-4373-86B7-858983D5C17E}" presName="horz2" presStyleCnt="0"/>
      <dgm:spPr/>
    </dgm:pt>
    <dgm:pt modelId="{259AAACC-36CA-4E2B-9C6B-E750BA0E950E}" type="pres">
      <dgm:prSet presAssocID="{08CE61B3-A3B3-4373-86B7-858983D5C17E}" presName="horzSpace2" presStyleCnt="0"/>
      <dgm:spPr/>
    </dgm:pt>
    <dgm:pt modelId="{A7106675-822F-4976-AF8D-8F38989288ED}" type="pres">
      <dgm:prSet presAssocID="{08CE61B3-A3B3-4373-86B7-858983D5C17E}" presName="tx2" presStyleLbl="revTx" presStyleIdx="1" presStyleCnt="19"/>
      <dgm:spPr/>
    </dgm:pt>
    <dgm:pt modelId="{079065FC-6850-496D-BAD9-FB83E075DE24}" type="pres">
      <dgm:prSet presAssocID="{08CE61B3-A3B3-4373-86B7-858983D5C17E}" presName="vert2" presStyleCnt="0"/>
      <dgm:spPr/>
    </dgm:pt>
    <dgm:pt modelId="{3234F987-6CAB-4123-A75B-68CBFA89DDDB}" type="pres">
      <dgm:prSet presAssocID="{08CE61B3-A3B3-4373-86B7-858983D5C17E}" presName="thinLine2b" presStyleLbl="callout" presStyleIdx="0" presStyleCnt="14"/>
      <dgm:spPr/>
    </dgm:pt>
    <dgm:pt modelId="{35FB8541-91C7-4508-9CF7-B622F02DB627}" type="pres">
      <dgm:prSet presAssocID="{08CE61B3-A3B3-4373-86B7-858983D5C17E}" presName="vertSpace2b" presStyleCnt="0"/>
      <dgm:spPr/>
    </dgm:pt>
    <dgm:pt modelId="{FD40F132-A76B-4BBC-8D8A-8EDA7F1DC9AF}" type="pres">
      <dgm:prSet presAssocID="{76310FAD-2F50-4D77-A577-606999346D01}" presName="horz2" presStyleCnt="0"/>
      <dgm:spPr/>
    </dgm:pt>
    <dgm:pt modelId="{A4FC0317-99D3-4D2A-94B9-8E46FDE2E1F1}" type="pres">
      <dgm:prSet presAssocID="{76310FAD-2F50-4D77-A577-606999346D01}" presName="horzSpace2" presStyleCnt="0"/>
      <dgm:spPr/>
    </dgm:pt>
    <dgm:pt modelId="{2B96A4A2-1EC0-47C0-8183-D75F7B708537}" type="pres">
      <dgm:prSet presAssocID="{76310FAD-2F50-4D77-A577-606999346D01}" presName="tx2" presStyleLbl="revTx" presStyleIdx="2" presStyleCnt="19"/>
      <dgm:spPr/>
    </dgm:pt>
    <dgm:pt modelId="{D1C6D74F-2581-4E36-8C53-B74A900EC210}" type="pres">
      <dgm:prSet presAssocID="{76310FAD-2F50-4D77-A577-606999346D01}" presName="vert2" presStyleCnt="0"/>
      <dgm:spPr/>
    </dgm:pt>
    <dgm:pt modelId="{033F78E7-F513-479F-9DFD-5723C5826C9B}" type="pres">
      <dgm:prSet presAssocID="{76310FAD-2F50-4D77-A577-606999346D01}" presName="thinLine2b" presStyleLbl="callout" presStyleIdx="1" presStyleCnt="14"/>
      <dgm:spPr/>
    </dgm:pt>
    <dgm:pt modelId="{FC10F44E-52A2-420E-AC4A-06A8CF037FA7}" type="pres">
      <dgm:prSet presAssocID="{76310FAD-2F50-4D77-A577-606999346D01}" presName="vertSpace2b" presStyleCnt="0"/>
      <dgm:spPr/>
    </dgm:pt>
    <dgm:pt modelId="{64E2F9A6-74DD-4FF6-9F5E-0051B2185F71}" type="pres">
      <dgm:prSet presAssocID="{034771D1-14F1-43C6-832F-9D2DCC0DCB21}" presName="horz2" presStyleCnt="0"/>
      <dgm:spPr/>
    </dgm:pt>
    <dgm:pt modelId="{63923983-5BF3-4E3F-8FCE-F4E05E18C02C}" type="pres">
      <dgm:prSet presAssocID="{034771D1-14F1-43C6-832F-9D2DCC0DCB21}" presName="horzSpace2" presStyleCnt="0"/>
      <dgm:spPr/>
    </dgm:pt>
    <dgm:pt modelId="{A683039D-1EF1-4A45-9761-3618723F2551}" type="pres">
      <dgm:prSet presAssocID="{034771D1-14F1-43C6-832F-9D2DCC0DCB21}" presName="tx2" presStyleLbl="revTx" presStyleIdx="3" presStyleCnt="19"/>
      <dgm:spPr/>
    </dgm:pt>
    <dgm:pt modelId="{154CAC88-65C9-4EAB-BFD8-39916F5C977D}" type="pres">
      <dgm:prSet presAssocID="{034771D1-14F1-43C6-832F-9D2DCC0DCB21}" presName="vert2" presStyleCnt="0"/>
      <dgm:spPr/>
    </dgm:pt>
    <dgm:pt modelId="{EF983E92-DC40-42DB-8E64-D3721423A6A5}" type="pres">
      <dgm:prSet presAssocID="{034771D1-14F1-43C6-832F-9D2DCC0DCB21}" presName="thinLine2b" presStyleLbl="callout" presStyleIdx="2" presStyleCnt="14"/>
      <dgm:spPr/>
    </dgm:pt>
    <dgm:pt modelId="{35CB3EE8-CD90-46E9-9C68-DCFCAEEAEC78}" type="pres">
      <dgm:prSet presAssocID="{034771D1-14F1-43C6-832F-9D2DCC0DCB21}" presName="vertSpace2b" presStyleCnt="0"/>
      <dgm:spPr/>
    </dgm:pt>
    <dgm:pt modelId="{CE7FCFC7-84B9-4F7C-9288-41D83C2B519D}" type="pres">
      <dgm:prSet presAssocID="{B12A732B-0014-4837-AF42-FF4D555EFF95}" presName="thickLine" presStyleLbl="alignNode1" presStyleIdx="1" presStyleCnt="5"/>
      <dgm:spPr/>
    </dgm:pt>
    <dgm:pt modelId="{0729A5A4-5E68-4720-91B8-A64F9CC605AE}" type="pres">
      <dgm:prSet presAssocID="{B12A732B-0014-4837-AF42-FF4D555EFF95}" presName="horz1" presStyleCnt="0"/>
      <dgm:spPr/>
    </dgm:pt>
    <dgm:pt modelId="{1F6708A2-C846-4C6C-BDC1-4D2ED59A4A10}" type="pres">
      <dgm:prSet presAssocID="{B12A732B-0014-4837-AF42-FF4D555EFF95}" presName="tx1" presStyleLbl="revTx" presStyleIdx="4" presStyleCnt="19"/>
      <dgm:spPr/>
    </dgm:pt>
    <dgm:pt modelId="{98AC0FBC-E111-4208-B4D3-6A4DD13F0F6F}" type="pres">
      <dgm:prSet presAssocID="{B12A732B-0014-4837-AF42-FF4D555EFF95}" presName="vert1" presStyleCnt="0"/>
      <dgm:spPr/>
    </dgm:pt>
    <dgm:pt modelId="{6FC5115B-A2E4-4A7D-9C68-28301C768889}" type="pres">
      <dgm:prSet presAssocID="{A80B1833-E586-431D-9382-37EAD7AB7B8A}" presName="vertSpace2a" presStyleCnt="0"/>
      <dgm:spPr/>
    </dgm:pt>
    <dgm:pt modelId="{18D2DA9D-F421-4FA7-BC75-6560D4AA0F38}" type="pres">
      <dgm:prSet presAssocID="{A80B1833-E586-431D-9382-37EAD7AB7B8A}" presName="horz2" presStyleCnt="0"/>
      <dgm:spPr/>
    </dgm:pt>
    <dgm:pt modelId="{D111F616-1017-4098-B8D6-FFCF54ED07AF}" type="pres">
      <dgm:prSet presAssocID="{A80B1833-E586-431D-9382-37EAD7AB7B8A}" presName="horzSpace2" presStyleCnt="0"/>
      <dgm:spPr/>
    </dgm:pt>
    <dgm:pt modelId="{E820C951-9934-49D9-8238-84A58A620BFF}" type="pres">
      <dgm:prSet presAssocID="{A80B1833-E586-431D-9382-37EAD7AB7B8A}" presName="tx2" presStyleLbl="revTx" presStyleIdx="5" presStyleCnt="19"/>
      <dgm:spPr/>
    </dgm:pt>
    <dgm:pt modelId="{3C6F34B4-F04F-42CB-B36B-47465811E04B}" type="pres">
      <dgm:prSet presAssocID="{A80B1833-E586-431D-9382-37EAD7AB7B8A}" presName="vert2" presStyleCnt="0"/>
      <dgm:spPr/>
    </dgm:pt>
    <dgm:pt modelId="{C88AAE9D-B06B-447B-82F6-22585D111C3B}" type="pres">
      <dgm:prSet presAssocID="{A80B1833-E586-431D-9382-37EAD7AB7B8A}" presName="thinLine2b" presStyleLbl="callout" presStyleIdx="3" presStyleCnt="14"/>
      <dgm:spPr/>
    </dgm:pt>
    <dgm:pt modelId="{20AA2BC8-9A54-4D2E-9F55-481C04793DBA}" type="pres">
      <dgm:prSet presAssocID="{A80B1833-E586-431D-9382-37EAD7AB7B8A}" presName="vertSpace2b" presStyleCnt="0"/>
      <dgm:spPr/>
    </dgm:pt>
    <dgm:pt modelId="{751CE238-97B4-43F0-94DA-EF244CA068E3}" type="pres">
      <dgm:prSet presAssocID="{A961C944-6C90-4697-9666-F6C15EAF93C6}" presName="horz2" presStyleCnt="0"/>
      <dgm:spPr/>
    </dgm:pt>
    <dgm:pt modelId="{0B3F530D-C224-48CB-BB4C-1C36C286A728}" type="pres">
      <dgm:prSet presAssocID="{A961C944-6C90-4697-9666-F6C15EAF93C6}" presName="horzSpace2" presStyleCnt="0"/>
      <dgm:spPr/>
    </dgm:pt>
    <dgm:pt modelId="{5197B0E2-CEE8-4023-ACB4-20AB38D37636}" type="pres">
      <dgm:prSet presAssocID="{A961C944-6C90-4697-9666-F6C15EAF93C6}" presName="tx2" presStyleLbl="revTx" presStyleIdx="6" presStyleCnt="19"/>
      <dgm:spPr/>
    </dgm:pt>
    <dgm:pt modelId="{CA665EE9-92F9-4812-A2C9-742A025620F0}" type="pres">
      <dgm:prSet presAssocID="{A961C944-6C90-4697-9666-F6C15EAF93C6}" presName="vert2" presStyleCnt="0"/>
      <dgm:spPr/>
    </dgm:pt>
    <dgm:pt modelId="{1929F746-3CC7-49FE-B2E8-65801374B7F3}" type="pres">
      <dgm:prSet presAssocID="{A961C944-6C90-4697-9666-F6C15EAF93C6}" presName="thinLine2b" presStyleLbl="callout" presStyleIdx="4" presStyleCnt="14"/>
      <dgm:spPr/>
    </dgm:pt>
    <dgm:pt modelId="{670350E0-1E0E-4820-BDE5-AFA7F40C190A}" type="pres">
      <dgm:prSet presAssocID="{A961C944-6C90-4697-9666-F6C15EAF93C6}" presName="vertSpace2b" presStyleCnt="0"/>
      <dgm:spPr/>
    </dgm:pt>
    <dgm:pt modelId="{BD610A71-EF5B-4597-B67A-527A74E77B78}" type="pres">
      <dgm:prSet presAssocID="{37B9FE17-76D0-45F8-BF16-261355D3D20C}" presName="horz2" presStyleCnt="0"/>
      <dgm:spPr/>
    </dgm:pt>
    <dgm:pt modelId="{18D87437-8137-41FF-9065-3E6F6E945D81}" type="pres">
      <dgm:prSet presAssocID="{37B9FE17-76D0-45F8-BF16-261355D3D20C}" presName="horzSpace2" presStyleCnt="0"/>
      <dgm:spPr/>
    </dgm:pt>
    <dgm:pt modelId="{3AC7EFEF-E2B1-42AF-BEFC-BCBE56A01649}" type="pres">
      <dgm:prSet presAssocID="{37B9FE17-76D0-45F8-BF16-261355D3D20C}" presName="tx2" presStyleLbl="revTx" presStyleIdx="7" presStyleCnt="19"/>
      <dgm:spPr/>
    </dgm:pt>
    <dgm:pt modelId="{985354C1-21FC-45D7-B4F7-65E83914959C}" type="pres">
      <dgm:prSet presAssocID="{37B9FE17-76D0-45F8-BF16-261355D3D20C}" presName="vert2" presStyleCnt="0"/>
      <dgm:spPr/>
    </dgm:pt>
    <dgm:pt modelId="{C908F888-1CC5-4B09-BDDE-87AB7215C344}" type="pres">
      <dgm:prSet presAssocID="{37B9FE17-76D0-45F8-BF16-261355D3D20C}" presName="thinLine2b" presStyleLbl="callout" presStyleIdx="5" presStyleCnt="14"/>
      <dgm:spPr/>
    </dgm:pt>
    <dgm:pt modelId="{9F98B5E7-78E1-4C3B-8970-B92A9AE34921}" type="pres">
      <dgm:prSet presAssocID="{37B9FE17-76D0-45F8-BF16-261355D3D20C}" presName="vertSpace2b" presStyleCnt="0"/>
      <dgm:spPr/>
    </dgm:pt>
    <dgm:pt modelId="{F6EC5B28-1869-4F59-A513-B677CB54BC53}" type="pres">
      <dgm:prSet presAssocID="{DB990F54-FCC2-46D3-9089-CAC148E3E3ED}" presName="thickLine" presStyleLbl="alignNode1" presStyleIdx="2" presStyleCnt="5"/>
      <dgm:spPr/>
    </dgm:pt>
    <dgm:pt modelId="{948C4408-AE44-413B-B3D0-849CF5A84FCD}" type="pres">
      <dgm:prSet presAssocID="{DB990F54-FCC2-46D3-9089-CAC148E3E3ED}" presName="horz1" presStyleCnt="0"/>
      <dgm:spPr/>
    </dgm:pt>
    <dgm:pt modelId="{8AB7D92F-2FEE-4B91-BEE6-143F77145A9A}" type="pres">
      <dgm:prSet presAssocID="{DB990F54-FCC2-46D3-9089-CAC148E3E3ED}" presName="tx1" presStyleLbl="revTx" presStyleIdx="8" presStyleCnt="19"/>
      <dgm:spPr/>
    </dgm:pt>
    <dgm:pt modelId="{EB36BA2D-123F-4B8E-B50D-F94FD824EA55}" type="pres">
      <dgm:prSet presAssocID="{DB990F54-FCC2-46D3-9089-CAC148E3E3ED}" presName="vert1" presStyleCnt="0"/>
      <dgm:spPr/>
    </dgm:pt>
    <dgm:pt modelId="{D746C5A3-5639-4AE8-92BA-99C0C8C9DA4D}" type="pres">
      <dgm:prSet presAssocID="{4A52C1D0-CBCE-4BA5-9A7E-2C0CCAEA9545}" presName="vertSpace2a" presStyleCnt="0"/>
      <dgm:spPr/>
    </dgm:pt>
    <dgm:pt modelId="{B48BC61A-F996-40C8-9AF8-42DEE4980C6A}" type="pres">
      <dgm:prSet presAssocID="{4A52C1D0-CBCE-4BA5-9A7E-2C0CCAEA9545}" presName="horz2" presStyleCnt="0"/>
      <dgm:spPr/>
    </dgm:pt>
    <dgm:pt modelId="{24AE0864-6534-4E90-8DB5-92924499E44A}" type="pres">
      <dgm:prSet presAssocID="{4A52C1D0-CBCE-4BA5-9A7E-2C0CCAEA9545}" presName="horzSpace2" presStyleCnt="0"/>
      <dgm:spPr/>
    </dgm:pt>
    <dgm:pt modelId="{6DED169E-AAC4-420E-A02A-65B9A2EADCC3}" type="pres">
      <dgm:prSet presAssocID="{4A52C1D0-CBCE-4BA5-9A7E-2C0CCAEA9545}" presName="tx2" presStyleLbl="revTx" presStyleIdx="9" presStyleCnt="19"/>
      <dgm:spPr/>
    </dgm:pt>
    <dgm:pt modelId="{FCFA319D-D0E0-43D2-AA90-652E61DD6DF5}" type="pres">
      <dgm:prSet presAssocID="{4A52C1D0-CBCE-4BA5-9A7E-2C0CCAEA9545}" presName="vert2" presStyleCnt="0"/>
      <dgm:spPr/>
    </dgm:pt>
    <dgm:pt modelId="{B9FCF0C5-5AAB-462F-80A8-F23D237F87BD}" type="pres">
      <dgm:prSet presAssocID="{4A52C1D0-CBCE-4BA5-9A7E-2C0CCAEA9545}" presName="thinLine2b" presStyleLbl="callout" presStyleIdx="6" presStyleCnt="14"/>
      <dgm:spPr/>
    </dgm:pt>
    <dgm:pt modelId="{380E9673-0ED4-42F3-9428-A6BCB8ED63E5}" type="pres">
      <dgm:prSet presAssocID="{4A52C1D0-CBCE-4BA5-9A7E-2C0CCAEA9545}" presName="vertSpace2b" presStyleCnt="0"/>
      <dgm:spPr/>
    </dgm:pt>
    <dgm:pt modelId="{EF00770C-6C81-4519-B960-227FBB458888}" type="pres">
      <dgm:prSet presAssocID="{D9E6D542-ED8E-4E9B-A3F7-CD250C439293}" presName="horz2" presStyleCnt="0"/>
      <dgm:spPr/>
    </dgm:pt>
    <dgm:pt modelId="{C00158D5-3AE7-434B-83CD-53D4C6FC99F0}" type="pres">
      <dgm:prSet presAssocID="{D9E6D542-ED8E-4E9B-A3F7-CD250C439293}" presName="horzSpace2" presStyleCnt="0"/>
      <dgm:spPr/>
    </dgm:pt>
    <dgm:pt modelId="{87553085-D284-493B-B93D-6A80701F7405}" type="pres">
      <dgm:prSet presAssocID="{D9E6D542-ED8E-4E9B-A3F7-CD250C439293}" presName="tx2" presStyleLbl="revTx" presStyleIdx="10" presStyleCnt="19"/>
      <dgm:spPr/>
    </dgm:pt>
    <dgm:pt modelId="{E4C5AA0E-6226-43B8-8308-99A266AD9C41}" type="pres">
      <dgm:prSet presAssocID="{D9E6D542-ED8E-4E9B-A3F7-CD250C439293}" presName="vert2" presStyleCnt="0"/>
      <dgm:spPr/>
    </dgm:pt>
    <dgm:pt modelId="{A704B2C1-DF6C-4816-A213-9D8B5EDDB908}" type="pres">
      <dgm:prSet presAssocID="{D9E6D542-ED8E-4E9B-A3F7-CD250C439293}" presName="thinLine2b" presStyleLbl="callout" presStyleIdx="7" presStyleCnt="14" custLinFactNeighborX="-507" custLinFactNeighborY="33844"/>
      <dgm:spPr/>
    </dgm:pt>
    <dgm:pt modelId="{D696B749-4922-446E-83F2-926A4C20202F}" type="pres">
      <dgm:prSet presAssocID="{D9E6D542-ED8E-4E9B-A3F7-CD250C439293}" presName="vertSpace2b" presStyleCnt="0"/>
      <dgm:spPr/>
    </dgm:pt>
    <dgm:pt modelId="{69298E3E-D657-4B10-A572-4365FADE27FC}" type="pres">
      <dgm:prSet presAssocID="{1A053809-A5C3-48EA-BEC0-BB3F5B88D625}" presName="thickLine" presStyleLbl="alignNode1" presStyleIdx="3" presStyleCnt="5"/>
      <dgm:spPr/>
    </dgm:pt>
    <dgm:pt modelId="{3EF66F61-0D90-4EBC-97D1-366E4E50346B}" type="pres">
      <dgm:prSet presAssocID="{1A053809-A5C3-48EA-BEC0-BB3F5B88D625}" presName="horz1" presStyleCnt="0"/>
      <dgm:spPr/>
    </dgm:pt>
    <dgm:pt modelId="{92E088ED-BE0E-4CFB-A13C-E3C883407970}" type="pres">
      <dgm:prSet presAssocID="{1A053809-A5C3-48EA-BEC0-BB3F5B88D625}" presName="tx1" presStyleLbl="revTx" presStyleIdx="11" presStyleCnt="19"/>
      <dgm:spPr/>
    </dgm:pt>
    <dgm:pt modelId="{E64A4412-782E-4F97-AD4E-1BE878745A6D}" type="pres">
      <dgm:prSet presAssocID="{1A053809-A5C3-48EA-BEC0-BB3F5B88D625}" presName="vert1" presStyleCnt="0"/>
      <dgm:spPr/>
    </dgm:pt>
    <dgm:pt modelId="{4AC4E90A-EB3D-4AE6-8C41-7E4469071389}" type="pres">
      <dgm:prSet presAssocID="{3534B797-E4E3-49E3-BB14-E250CBF85B12}" presName="vertSpace2a" presStyleCnt="0"/>
      <dgm:spPr/>
    </dgm:pt>
    <dgm:pt modelId="{94629D11-5619-43E0-B4CC-149305323EA1}" type="pres">
      <dgm:prSet presAssocID="{3534B797-E4E3-49E3-BB14-E250CBF85B12}" presName="horz2" presStyleCnt="0"/>
      <dgm:spPr/>
    </dgm:pt>
    <dgm:pt modelId="{1330E4C0-DE06-420D-B90B-CF103E52E841}" type="pres">
      <dgm:prSet presAssocID="{3534B797-E4E3-49E3-BB14-E250CBF85B12}" presName="horzSpace2" presStyleCnt="0"/>
      <dgm:spPr/>
    </dgm:pt>
    <dgm:pt modelId="{86085629-6911-4143-AD27-9C3CE314D1CF}" type="pres">
      <dgm:prSet presAssocID="{3534B797-E4E3-49E3-BB14-E250CBF85B12}" presName="tx2" presStyleLbl="revTx" presStyleIdx="12" presStyleCnt="19" custScaleX="101412" custScaleY="110917" custLinFactNeighborY="5509"/>
      <dgm:spPr/>
    </dgm:pt>
    <dgm:pt modelId="{693AC416-EE82-4F1F-8A18-21F6ED34478D}" type="pres">
      <dgm:prSet presAssocID="{3534B797-E4E3-49E3-BB14-E250CBF85B12}" presName="vert2" presStyleCnt="0"/>
      <dgm:spPr/>
    </dgm:pt>
    <dgm:pt modelId="{E51E992F-30E2-41BB-967A-4E9202DD8598}" type="pres">
      <dgm:prSet presAssocID="{3534B797-E4E3-49E3-BB14-E250CBF85B12}" presName="thinLine2b" presStyleLbl="callout" presStyleIdx="8" presStyleCnt="14" custLinFactY="11552" custLinFactNeighborY="100000"/>
      <dgm:spPr/>
    </dgm:pt>
    <dgm:pt modelId="{6EC656B6-2356-4528-AE58-0E24FBE2847C}" type="pres">
      <dgm:prSet presAssocID="{3534B797-E4E3-49E3-BB14-E250CBF85B12}" presName="vertSpace2b" presStyleCnt="0"/>
      <dgm:spPr/>
    </dgm:pt>
    <dgm:pt modelId="{4F867DAC-F7D0-4D5E-8886-B383F6853C16}" type="pres">
      <dgm:prSet presAssocID="{37FA8917-0621-494C-BB81-64E80E75ECD2}" presName="horz2" presStyleCnt="0"/>
      <dgm:spPr/>
    </dgm:pt>
    <dgm:pt modelId="{A9086EF1-2747-47E5-AD94-E0EF9DA2C942}" type="pres">
      <dgm:prSet presAssocID="{37FA8917-0621-494C-BB81-64E80E75ECD2}" presName="horzSpace2" presStyleCnt="0"/>
      <dgm:spPr/>
    </dgm:pt>
    <dgm:pt modelId="{2A447E30-8F7F-44EB-B6A9-DBAE5DFA79E8}" type="pres">
      <dgm:prSet presAssocID="{37FA8917-0621-494C-BB81-64E80E75ECD2}" presName="tx2" presStyleLbl="revTx" presStyleIdx="13" presStyleCnt="19"/>
      <dgm:spPr/>
    </dgm:pt>
    <dgm:pt modelId="{02608C15-021A-44AF-9318-9A653AD63D29}" type="pres">
      <dgm:prSet presAssocID="{37FA8917-0621-494C-BB81-64E80E75ECD2}" presName="vert2" presStyleCnt="0"/>
      <dgm:spPr/>
    </dgm:pt>
    <dgm:pt modelId="{A241177B-0740-40A5-A0C2-04B0E97DAC4E}" type="pres">
      <dgm:prSet presAssocID="{37FA8917-0621-494C-BB81-64E80E75ECD2}" presName="thinLine2b" presStyleLbl="callout" presStyleIdx="9" presStyleCnt="14"/>
      <dgm:spPr/>
    </dgm:pt>
    <dgm:pt modelId="{0A333D7A-BF79-456F-919D-C38015D7471E}" type="pres">
      <dgm:prSet presAssocID="{37FA8917-0621-494C-BB81-64E80E75ECD2}" presName="vertSpace2b" presStyleCnt="0"/>
      <dgm:spPr/>
    </dgm:pt>
    <dgm:pt modelId="{03442E08-2482-4274-A8B7-F88755028D91}" type="pres">
      <dgm:prSet presAssocID="{09F2E791-0EE0-461D-B0D1-C18CF8368FA4}" presName="horz2" presStyleCnt="0"/>
      <dgm:spPr/>
    </dgm:pt>
    <dgm:pt modelId="{1809154F-76D2-47C9-804F-9E6BF715C280}" type="pres">
      <dgm:prSet presAssocID="{09F2E791-0EE0-461D-B0D1-C18CF8368FA4}" presName="horzSpace2" presStyleCnt="0"/>
      <dgm:spPr/>
    </dgm:pt>
    <dgm:pt modelId="{525F8C24-F9FA-44EC-9466-C6DB3339F584}" type="pres">
      <dgm:prSet presAssocID="{09F2E791-0EE0-461D-B0D1-C18CF8368FA4}" presName="tx2" presStyleLbl="revTx" presStyleIdx="14" presStyleCnt="19"/>
      <dgm:spPr/>
    </dgm:pt>
    <dgm:pt modelId="{960FB7D6-B78C-4A15-B58A-BE8A671C3D28}" type="pres">
      <dgm:prSet presAssocID="{09F2E791-0EE0-461D-B0D1-C18CF8368FA4}" presName="vert2" presStyleCnt="0"/>
      <dgm:spPr/>
    </dgm:pt>
    <dgm:pt modelId="{8E9882F2-8288-422E-8EF6-8AD2E97E4266}" type="pres">
      <dgm:prSet presAssocID="{09F2E791-0EE0-461D-B0D1-C18CF8368FA4}" presName="thinLine2b" presStyleLbl="callout" presStyleIdx="10" presStyleCnt="14"/>
      <dgm:spPr/>
    </dgm:pt>
    <dgm:pt modelId="{754F82BE-D805-4008-B412-406D7B33DBF5}" type="pres">
      <dgm:prSet presAssocID="{09F2E791-0EE0-461D-B0D1-C18CF8368FA4}" presName="vertSpace2b" presStyleCnt="0"/>
      <dgm:spPr/>
    </dgm:pt>
    <dgm:pt modelId="{59B21148-EE40-44AD-B4CD-1CC879E894C0}" type="pres">
      <dgm:prSet presAssocID="{DA818377-250A-47D3-9BBE-4AFF8BBD403E}" presName="thickLine" presStyleLbl="alignNode1" presStyleIdx="4" presStyleCnt="5"/>
      <dgm:spPr/>
    </dgm:pt>
    <dgm:pt modelId="{C38307F3-F0CB-4285-85DF-EFAA5D4CD555}" type="pres">
      <dgm:prSet presAssocID="{DA818377-250A-47D3-9BBE-4AFF8BBD403E}" presName="horz1" presStyleCnt="0"/>
      <dgm:spPr/>
    </dgm:pt>
    <dgm:pt modelId="{F44ECB59-AB78-469B-99E5-8126F406BC32}" type="pres">
      <dgm:prSet presAssocID="{DA818377-250A-47D3-9BBE-4AFF8BBD403E}" presName="tx1" presStyleLbl="revTx" presStyleIdx="15" presStyleCnt="19"/>
      <dgm:spPr/>
    </dgm:pt>
    <dgm:pt modelId="{770E284B-FCB6-4607-9315-1A8178E2EA8F}" type="pres">
      <dgm:prSet presAssocID="{DA818377-250A-47D3-9BBE-4AFF8BBD403E}" presName="vert1" presStyleCnt="0"/>
      <dgm:spPr/>
    </dgm:pt>
    <dgm:pt modelId="{D401E9DE-AC2C-45B4-80BD-7E8746C12446}" type="pres">
      <dgm:prSet presAssocID="{B2FAD836-E33D-4FFB-BE35-45A8A81A1FE2}" presName="vertSpace2a" presStyleCnt="0"/>
      <dgm:spPr/>
    </dgm:pt>
    <dgm:pt modelId="{F628B6F1-DA15-43D3-8CD5-C5DE22D72C85}" type="pres">
      <dgm:prSet presAssocID="{B2FAD836-E33D-4FFB-BE35-45A8A81A1FE2}" presName="horz2" presStyleCnt="0"/>
      <dgm:spPr/>
    </dgm:pt>
    <dgm:pt modelId="{9ABC0175-8834-4BD5-82F5-944606F7A2F6}" type="pres">
      <dgm:prSet presAssocID="{B2FAD836-E33D-4FFB-BE35-45A8A81A1FE2}" presName="horzSpace2" presStyleCnt="0"/>
      <dgm:spPr/>
    </dgm:pt>
    <dgm:pt modelId="{1072DA3F-492D-4491-AF46-934393AFD184}" type="pres">
      <dgm:prSet presAssocID="{B2FAD836-E33D-4FFB-BE35-45A8A81A1FE2}" presName="tx2" presStyleLbl="revTx" presStyleIdx="16" presStyleCnt="19"/>
      <dgm:spPr/>
    </dgm:pt>
    <dgm:pt modelId="{F961C779-CAFC-4457-A03C-19E3A2737E26}" type="pres">
      <dgm:prSet presAssocID="{B2FAD836-E33D-4FFB-BE35-45A8A81A1FE2}" presName="vert2" presStyleCnt="0"/>
      <dgm:spPr/>
    </dgm:pt>
    <dgm:pt modelId="{876274E7-E74D-4AED-8A02-EE0C7189D1D9}" type="pres">
      <dgm:prSet presAssocID="{B2FAD836-E33D-4FFB-BE35-45A8A81A1FE2}" presName="thinLine2b" presStyleLbl="callout" presStyleIdx="11" presStyleCnt="14"/>
      <dgm:spPr/>
    </dgm:pt>
    <dgm:pt modelId="{F9EF3E43-9161-4ECF-93C9-64C62DF8D962}" type="pres">
      <dgm:prSet presAssocID="{B2FAD836-E33D-4FFB-BE35-45A8A81A1FE2}" presName="vertSpace2b" presStyleCnt="0"/>
      <dgm:spPr/>
    </dgm:pt>
    <dgm:pt modelId="{C1B6526E-3420-4585-850B-98F3BE868988}" type="pres">
      <dgm:prSet presAssocID="{AEF291F3-7D93-4AB7-B3FF-940CDCD42DE0}" presName="horz2" presStyleCnt="0"/>
      <dgm:spPr/>
    </dgm:pt>
    <dgm:pt modelId="{A7B1C73B-A786-47B4-9196-BEAC5C96082A}" type="pres">
      <dgm:prSet presAssocID="{AEF291F3-7D93-4AB7-B3FF-940CDCD42DE0}" presName="horzSpace2" presStyleCnt="0"/>
      <dgm:spPr/>
    </dgm:pt>
    <dgm:pt modelId="{84120C87-B50B-40C5-BE1A-205D6BB98D85}" type="pres">
      <dgm:prSet presAssocID="{AEF291F3-7D93-4AB7-B3FF-940CDCD42DE0}" presName="tx2" presStyleLbl="revTx" presStyleIdx="17" presStyleCnt="19"/>
      <dgm:spPr/>
    </dgm:pt>
    <dgm:pt modelId="{73253B0C-5F65-455D-B7B5-F4971EEBCE4A}" type="pres">
      <dgm:prSet presAssocID="{AEF291F3-7D93-4AB7-B3FF-940CDCD42DE0}" presName="vert2" presStyleCnt="0"/>
      <dgm:spPr/>
    </dgm:pt>
    <dgm:pt modelId="{3FA5D2C5-097A-4E48-B49F-0CF01A12ED97}" type="pres">
      <dgm:prSet presAssocID="{AEF291F3-7D93-4AB7-B3FF-940CDCD42DE0}" presName="thinLine2b" presStyleLbl="callout" presStyleIdx="12" presStyleCnt="14"/>
      <dgm:spPr/>
    </dgm:pt>
    <dgm:pt modelId="{031ED5DB-CEB8-4C1C-B917-B22C5278B8FE}" type="pres">
      <dgm:prSet presAssocID="{AEF291F3-7D93-4AB7-B3FF-940CDCD42DE0}" presName="vertSpace2b" presStyleCnt="0"/>
      <dgm:spPr/>
    </dgm:pt>
    <dgm:pt modelId="{A46A7F23-3425-4BDB-97FE-52C8CE246DBC}" type="pres">
      <dgm:prSet presAssocID="{D75F851C-3D9F-4F79-BF11-498EC8850F69}" presName="horz2" presStyleCnt="0"/>
      <dgm:spPr/>
    </dgm:pt>
    <dgm:pt modelId="{577797E4-3C50-4B99-B027-1096DB495A02}" type="pres">
      <dgm:prSet presAssocID="{D75F851C-3D9F-4F79-BF11-498EC8850F69}" presName="horzSpace2" presStyleCnt="0"/>
      <dgm:spPr/>
    </dgm:pt>
    <dgm:pt modelId="{73399154-D278-4827-8724-F730EB1D3661}" type="pres">
      <dgm:prSet presAssocID="{D75F851C-3D9F-4F79-BF11-498EC8850F69}" presName="tx2" presStyleLbl="revTx" presStyleIdx="18" presStyleCnt="19"/>
      <dgm:spPr/>
    </dgm:pt>
    <dgm:pt modelId="{551D89FF-D8EF-4EFC-903A-FB4B78D07B49}" type="pres">
      <dgm:prSet presAssocID="{D75F851C-3D9F-4F79-BF11-498EC8850F69}" presName="vert2" presStyleCnt="0"/>
      <dgm:spPr/>
    </dgm:pt>
    <dgm:pt modelId="{6DD76EEE-4A00-4FED-AB16-D07C2C032835}" type="pres">
      <dgm:prSet presAssocID="{D75F851C-3D9F-4F79-BF11-498EC8850F69}" presName="thinLine2b" presStyleLbl="callout" presStyleIdx="13" presStyleCnt="14"/>
      <dgm:spPr/>
    </dgm:pt>
    <dgm:pt modelId="{91C9E08E-AF88-4222-8218-2361A23BF7F1}" type="pres">
      <dgm:prSet presAssocID="{D75F851C-3D9F-4F79-BF11-498EC8850F69}" presName="vertSpace2b" presStyleCnt="0"/>
      <dgm:spPr/>
    </dgm:pt>
  </dgm:ptLst>
  <dgm:cxnLst>
    <dgm:cxn modelId="{83556511-D6EF-44B5-B26B-1E5DCEBAD86A}" type="presOf" srcId="{1EAFE4A8-2B2C-4D39-B4AF-018BAED19903}" destId="{5548176F-51C8-471D-BD66-BB8DEB89382A}" srcOrd="0" destOrd="0" presId="urn:microsoft.com/office/officeart/2008/layout/LinedList"/>
    <dgm:cxn modelId="{3CF8151E-A326-419C-9999-C8DC8E702391}" type="presOf" srcId="{37B9FE17-76D0-45F8-BF16-261355D3D20C}" destId="{3AC7EFEF-E2B1-42AF-BEFC-BCBE56A01649}" srcOrd="0" destOrd="0" presId="urn:microsoft.com/office/officeart/2008/layout/LinedList"/>
    <dgm:cxn modelId="{377E8120-1057-4A3F-A6FA-D9B7B65E7BDE}" type="presOf" srcId="{B12A732B-0014-4837-AF42-FF4D555EFF95}" destId="{1F6708A2-C846-4C6C-BDC1-4D2ED59A4A10}" srcOrd="0" destOrd="0" presId="urn:microsoft.com/office/officeart/2008/layout/LinedList"/>
    <dgm:cxn modelId="{2AD82527-BD88-45FA-9C9F-5B4C438FF69B}" type="presOf" srcId="{D9E6D542-ED8E-4E9B-A3F7-CD250C439293}" destId="{87553085-D284-493B-B93D-6A80701F7405}" srcOrd="0" destOrd="0" presId="urn:microsoft.com/office/officeart/2008/layout/LinedList"/>
    <dgm:cxn modelId="{6874132C-91EE-4736-918C-01A0B4A402DC}" type="presOf" srcId="{A80B1833-E586-431D-9382-37EAD7AB7B8A}" destId="{E820C951-9934-49D9-8238-84A58A620BFF}" srcOrd="0" destOrd="0" presId="urn:microsoft.com/office/officeart/2008/layout/LinedList"/>
    <dgm:cxn modelId="{EBA6292C-B2B2-448F-A4AB-9520AFB33A8D}" type="presOf" srcId="{D75F851C-3D9F-4F79-BF11-498EC8850F69}" destId="{73399154-D278-4827-8724-F730EB1D3661}" srcOrd="0" destOrd="0" presId="urn:microsoft.com/office/officeart/2008/layout/LinedList"/>
    <dgm:cxn modelId="{2A2C6131-21D1-4925-B697-05BA5AC6F1BD}" type="presOf" srcId="{37FA8917-0621-494C-BB81-64E80E75ECD2}" destId="{2A447E30-8F7F-44EB-B6A9-DBAE5DFA79E8}" srcOrd="0" destOrd="0" presId="urn:microsoft.com/office/officeart/2008/layout/LinedList"/>
    <dgm:cxn modelId="{D8650834-391F-4176-AF88-D2AB7020A4E3}" srcId="{DB990F54-FCC2-46D3-9089-CAC148E3E3ED}" destId="{4A52C1D0-CBCE-4BA5-9A7E-2C0CCAEA9545}" srcOrd="0" destOrd="0" parTransId="{00FC1A94-AF62-443E-AEB8-845EF57221F8}" sibTransId="{5259C187-4E94-40C9-8E47-75E053463B52}"/>
    <dgm:cxn modelId="{079DF734-9112-4401-A6F0-C01769871C80}" srcId="{DA818377-250A-47D3-9BBE-4AFF8BBD403E}" destId="{AEF291F3-7D93-4AB7-B3FF-940CDCD42DE0}" srcOrd="1" destOrd="0" parTransId="{B3976C7D-C3C6-4EE9-AE06-BF612519CBB2}" sibTransId="{DB0B006B-714F-4163-BD10-2C28AF0C3BCF}"/>
    <dgm:cxn modelId="{5A903B38-9528-4116-A70A-5441F6218E0E}" srcId="{1EAFE4A8-2B2C-4D39-B4AF-018BAED19903}" destId="{7DB98928-5C76-42AE-B23F-C86E7E254518}" srcOrd="0" destOrd="0" parTransId="{60BF2FDC-FE4E-427F-9C28-EF91CB4AAE65}" sibTransId="{9E4B5CBB-E8D1-47C5-B419-5C375D11566B}"/>
    <dgm:cxn modelId="{C81BAC3C-3279-4CFA-8348-7371AE28D62E}" srcId="{B12A732B-0014-4837-AF42-FF4D555EFF95}" destId="{A961C944-6C90-4697-9666-F6C15EAF93C6}" srcOrd="1" destOrd="0" parTransId="{42A26101-A404-402A-B59C-2F7A10872473}" sibTransId="{8925D174-A7AA-4C0D-934E-F0C606DD1E50}"/>
    <dgm:cxn modelId="{4F17B93C-09C3-4DC3-8749-260BCAAD3068}" type="presOf" srcId="{09F2E791-0EE0-461D-B0D1-C18CF8368FA4}" destId="{525F8C24-F9FA-44EC-9466-C6DB3339F584}" srcOrd="0" destOrd="0" presId="urn:microsoft.com/office/officeart/2008/layout/LinedList"/>
    <dgm:cxn modelId="{7D98423E-5739-4582-9004-1F40CF5ACD3A}" srcId="{7DB98928-5C76-42AE-B23F-C86E7E254518}" destId="{76310FAD-2F50-4D77-A577-606999346D01}" srcOrd="1" destOrd="0" parTransId="{C2683F17-EC05-4653-A53B-2A89BED657FA}" sibTransId="{0433A4A7-F8B8-44A3-BC39-E7E4279B3529}"/>
    <dgm:cxn modelId="{95EFF45F-BF55-44D0-BF1C-74DB2A094AAB}" type="presOf" srcId="{3534B797-E4E3-49E3-BB14-E250CBF85B12}" destId="{86085629-6911-4143-AD27-9C3CE314D1CF}" srcOrd="0" destOrd="0" presId="urn:microsoft.com/office/officeart/2008/layout/LinedList"/>
    <dgm:cxn modelId="{8B9BDB46-1687-46C6-9002-A3C16CDF79E3}" type="presOf" srcId="{DB990F54-FCC2-46D3-9089-CAC148E3E3ED}" destId="{8AB7D92F-2FEE-4B91-BEE6-143F77145A9A}" srcOrd="0" destOrd="0" presId="urn:microsoft.com/office/officeart/2008/layout/LinedList"/>
    <dgm:cxn modelId="{D860E44B-28B3-41C1-BAFD-FE499F0A0AE1}" srcId="{7DB98928-5C76-42AE-B23F-C86E7E254518}" destId="{034771D1-14F1-43C6-832F-9D2DCC0DCB21}" srcOrd="2" destOrd="0" parTransId="{B42FA312-CAC3-4FD3-8B48-E67AC116253B}" sibTransId="{46A43B98-0D26-4C31-9EAD-5929388A808E}"/>
    <dgm:cxn modelId="{8A223C50-B857-4705-A169-8290235D4006}" type="presOf" srcId="{76310FAD-2F50-4D77-A577-606999346D01}" destId="{2B96A4A2-1EC0-47C0-8183-D75F7B708537}" srcOrd="0" destOrd="0" presId="urn:microsoft.com/office/officeart/2008/layout/LinedList"/>
    <dgm:cxn modelId="{AD036173-149B-4310-B185-48A596692528}" type="presOf" srcId="{DA818377-250A-47D3-9BBE-4AFF8BBD403E}" destId="{F44ECB59-AB78-469B-99E5-8126F406BC32}" srcOrd="0" destOrd="0" presId="urn:microsoft.com/office/officeart/2008/layout/LinedList"/>
    <dgm:cxn modelId="{D44D8554-CC42-4EDA-8FD6-497D255B6134}" srcId="{1EAFE4A8-2B2C-4D39-B4AF-018BAED19903}" destId="{DA818377-250A-47D3-9BBE-4AFF8BBD403E}" srcOrd="4" destOrd="0" parTransId="{D901DD44-8819-4046-A173-FFD60B014FD8}" sibTransId="{A22759D2-B8B9-489C-A8BE-1DAD3B4F5A30}"/>
    <dgm:cxn modelId="{E9021681-3F60-4C82-8C3F-B3A0EE8696D6}" type="presOf" srcId="{A961C944-6C90-4697-9666-F6C15EAF93C6}" destId="{5197B0E2-CEE8-4023-ACB4-20AB38D37636}" srcOrd="0" destOrd="0" presId="urn:microsoft.com/office/officeart/2008/layout/LinedList"/>
    <dgm:cxn modelId="{F29EAE85-001D-4BE3-9653-831A54DB974D}" srcId="{DA818377-250A-47D3-9BBE-4AFF8BBD403E}" destId="{D75F851C-3D9F-4F79-BF11-498EC8850F69}" srcOrd="2" destOrd="0" parTransId="{B2C3CB7A-C2C8-46BD-A6B5-327BE0821B2A}" sibTransId="{C4E26BEC-A2B1-44AA-BC32-31CBA8331589}"/>
    <dgm:cxn modelId="{53166088-53FC-4740-B81D-F3E85242FB4A}" srcId="{1EAFE4A8-2B2C-4D39-B4AF-018BAED19903}" destId="{1A053809-A5C3-48EA-BEC0-BB3F5B88D625}" srcOrd="3" destOrd="0" parTransId="{6C2A0C80-BC24-4208-BFCF-5EF473121CF9}" sibTransId="{8EB652AD-C777-40B6-94C6-1B9F6B56A5EF}"/>
    <dgm:cxn modelId="{2B24108B-1939-443D-8276-73CF0FD327B6}" srcId="{1EAFE4A8-2B2C-4D39-B4AF-018BAED19903}" destId="{DB990F54-FCC2-46D3-9089-CAC148E3E3ED}" srcOrd="2" destOrd="0" parTransId="{DEB55524-C908-428D-9F59-7AC2F2666465}" sibTransId="{81B88696-5E5A-475E-B846-83624435FD94}"/>
    <dgm:cxn modelId="{38616997-155E-4AE8-8DB8-F202C0122F78}" type="presOf" srcId="{AEF291F3-7D93-4AB7-B3FF-940CDCD42DE0}" destId="{84120C87-B50B-40C5-BE1A-205D6BB98D85}" srcOrd="0" destOrd="0" presId="urn:microsoft.com/office/officeart/2008/layout/LinedList"/>
    <dgm:cxn modelId="{CA272AB9-490B-4C8B-A429-D7D57145A41E}" type="presOf" srcId="{4A52C1D0-CBCE-4BA5-9A7E-2C0CCAEA9545}" destId="{6DED169E-AAC4-420E-A02A-65B9A2EADCC3}" srcOrd="0" destOrd="0" presId="urn:microsoft.com/office/officeart/2008/layout/LinedList"/>
    <dgm:cxn modelId="{95A97FBC-AAA8-4EC7-A983-4F375C82D8BA}" type="presOf" srcId="{034771D1-14F1-43C6-832F-9D2DCC0DCB21}" destId="{A683039D-1EF1-4A45-9761-3618723F2551}" srcOrd="0" destOrd="0" presId="urn:microsoft.com/office/officeart/2008/layout/LinedList"/>
    <dgm:cxn modelId="{55F91DC1-17EF-4971-9D87-1318DCFD9199}" type="presOf" srcId="{08CE61B3-A3B3-4373-86B7-858983D5C17E}" destId="{A7106675-822F-4976-AF8D-8F38989288ED}" srcOrd="0" destOrd="0" presId="urn:microsoft.com/office/officeart/2008/layout/LinedList"/>
    <dgm:cxn modelId="{D5F90BC5-9C37-44AB-A1E3-C77BFCD0CD97}" srcId="{1A053809-A5C3-48EA-BEC0-BB3F5B88D625}" destId="{09F2E791-0EE0-461D-B0D1-C18CF8368FA4}" srcOrd="2" destOrd="0" parTransId="{33C2ABBD-F6A9-446F-84F1-7C58146419F0}" sibTransId="{138A1372-A5E5-4BA6-BB39-11AD24C53A8C}"/>
    <dgm:cxn modelId="{532FD0D0-000F-4504-A5CB-8C533DBDF3AB}" srcId="{B12A732B-0014-4837-AF42-FF4D555EFF95}" destId="{37B9FE17-76D0-45F8-BF16-261355D3D20C}" srcOrd="2" destOrd="0" parTransId="{3ABB8CC5-8DD3-41FC-9FE9-84AA6176B74A}" sibTransId="{C760DBD6-0E13-4A08-BD1A-7A3D3FD4A1BB}"/>
    <dgm:cxn modelId="{01A242D4-30C0-4072-A40C-CD54FF6CD12D}" type="presOf" srcId="{1A053809-A5C3-48EA-BEC0-BB3F5B88D625}" destId="{92E088ED-BE0E-4CFB-A13C-E3C883407970}" srcOrd="0" destOrd="0" presId="urn:microsoft.com/office/officeart/2008/layout/LinedList"/>
    <dgm:cxn modelId="{E56BD2D5-C7E8-48E2-8E3F-A7B421837AA7}" type="presOf" srcId="{B2FAD836-E33D-4FFB-BE35-45A8A81A1FE2}" destId="{1072DA3F-492D-4491-AF46-934393AFD184}" srcOrd="0" destOrd="0" presId="urn:microsoft.com/office/officeart/2008/layout/LinedList"/>
    <dgm:cxn modelId="{1AEB09DB-4067-48F9-B17E-9CB46C61C1A4}" srcId="{DA818377-250A-47D3-9BBE-4AFF8BBD403E}" destId="{B2FAD836-E33D-4FFB-BE35-45A8A81A1FE2}" srcOrd="0" destOrd="0" parTransId="{7CF2BCC8-120A-4C8F-BBD0-754F5451A710}" sibTransId="{A6F10F31-D14F-4C96-B677-B7AB5D8E6FC0}"/>
    <dgm:cxn modelId="{6D5A67DF-0EDE-4E4D-A43B-CFAB7C9B09E1}" srcId="{7DB98928-5C76-42AE-B23F-C86E7E254518}" destId="{08CE61B3-A3B3-4373-86B7-858983D5C17E}" srcOrd="0" destOrd="0" parTransId="{FFA5780A-F72C-4D0B-930C-E3FEDF23E7EA}" sibTransId="{B93C9BB4-4EEA-48C5-B5BE-2DF8A26512EC}"/>
    <dgm:cxn modelId="{ED789FEF-6752-4B08-8C8E-9184364D2118}" srcId="{DB990F54-FCC2-46D3-9089-CAC148E3E3ED}" destId="{D9E6D542-ED8E-4E9B-A3F7-CD250C439293}" srcOrd="1" destOrd="0" parTransId="{3297DB80-B77F-47AF-A018-287D7A1F1C88}" sibTransId="{ED8B7760-205D-44CD-893D-E399E3F3793E}"/>
    <dgm:cxn modelId="{BB11E4F5-9C89-4DCA-8B06-C2DADF119726}" srcId="{1A053809-A5C3-48EA-BEC0-BB3F5B88D625}" destId="{37FA8917-0621-494C-BB81-64E80E75ECD2}" srcOrd="1" destOrd="0" parTransId="{3A2A0996-AD49-4FD3-B462-C7AAD92D13BB}" sibTransId="{C9D45194-B4BD-4127-AA31-3F039FD9568A}"/>
    <dgm:cxn modelId="{7827C0F8-300E-4AE5-AC34-B1C1D8F5C567}" srcId="{B12A732B-0014-4837-AF42-FF4D555EFF95}" destId="{A80B1833-E586-431D-9382-37EAD7AB7B8A}" srcOrd="0" destOrd="0" parTransId="{520F694E-1E3D-4B4E-BE0B-A09C67EAF59C}" sibTransId="{321452C0-FCB5-4321-B53D-8B478D9A13FF}"/>
    <dgm:cxn modelId="{D5D96BF9-A25D-4469-B9DA-26554C4B44A4}" type="presOf" srcId="{7DB98928-5C76-42AE-B23F-C86E7E254518}" destId="{63D3A486-F9D6-4605-93C1-EBF712B7A079}" srcOrd="0" destOrd="0" presId="urn:microsoft.com/office/officeart/2008/layout/LinedList"/>
    <dgm:cxn modelId="{D87E56F9-B86A-4626-890D-4CC584B23DD9}" srcId="{1EAFE4A8-2B2C-4D39-B4AF-018BAED19903}" destId="{B12A732B-0014-4837-AF42-FF4D555EFF95}" srcOrd="1" destOrd="0" parTransId="{810C8693-5936-436B-86EA-15D408E83A19}" sibTransId="{E2985075-65E8-433F-9DD7-2F97C245662E}"/>
    <dgm:cxn modelId="{FEF5BEFD-5E71-45C7-ABE8-F475FFF31C9C}" srcId="{1A053809-A5C3-48EA-BEC0-BB3F5B88D625}" destId="{3534B797-E4E3-49E3-BB14-E250CBF85B12}" srcOrd="0" destOrd="0" parTransId="{36C862E1-2345-478F-A929-2F69CAF2B25F}" sibTransId="{3FC87798-7A24-4352-A5C8-6D2948464D55}"/>
    <dgm:cxn modelId="{CF554529-3B1C-4777-AD02-95EC97EC2F81}" type="presParOf" srcId="{5548176F-51C8-471D-BD66-BB8DEB89382A}" destId="{E697C447-9D26-480E-9849-E52F50096E6B}" srcOrd="0" destOrd="0" presId="urn:microsoft.com/office/officeart/2008/layout/LinedList"/>
    <dgm:cxn modelId="{9A3DFEF6-8CD6-4741-A230-653F0309128E}" type="presParOf" srcId="{5548176F-51C8-471D-BD66-BB8DEB89382A}" destId="{7D68517C-36A6-45FB-90ED-32923E6539DF}" srcOrd="1" destOrd="0" presId="urn:microsoft.com/office/officeart/2008/layout/LinedList"/>
    <dgm:cxn modelId="{28A63DCE-8847-432B-BA4E-42C839F5B2D0}" type="presParOf" srcId="{7D68517C-36A6-45FB-90ED-32923E6539DF}" destId="{63D3A486-F9D6-4605-93C1-EBF712B7A079}" srcOrd="0" destOrd="0" presId="urn:microsoft.com/office/officeart/2008/layout/LinedList"/>
    <dgm:cxn modelId="{903A4A30-960E-4C1C-B077-7D7C07FAB50A}" type="presParOf" srcId="{7D68517C-36A6-45FB-90ED-32923E6539DF}" destId="{FF37A776-2BDB-4FE9-BE67-F186718B5893}" srcOrd="1" destOrd="0" presId="urn:microsoft.com/office/officeart/2008/layout/LinedList"/>
    <dgm:cxn modelId="{68F51518-22B8-487A-84A0-0267478BFEF2}" type="presParOf" srcId="{FF37A776-2BDB-4FE9-BE67-F186718B5893}" destId="{D0856485-8F80-462A-BA0F-1D2CB0B766A4}" srcOrd="0" destOrd="0" presId="urn:microsoft.com/office/officeart/2008/layout/LinedList"/>
    <dgm:cxn modelId="{4F579ECB-BB2D-4487-8BD6-FB567AD85F90}" type="presParOf" srcId="{FF37A776-2BDB-4FE9-BE67-F186718B5893}" destId="{9AC47248-C761-4D40-BE39-7BE24CE537C5}" srcOrd="1" destOrd="0" presId="urn:microsoft.com/office/officeart/2008/layout/LinedList"/>
    <dgm:cxn modelId="{40EBDC55-1FD0-44BC-988A-C14653926FBA}" type="presParOf" srcId="{9AC47248-C761-4D40-BE39-7BE24CE537C5}" destId="{259AAACC-36CA-4E2B-9C6B-E750BA0E950E}" srcOrd="0" destOrd="0" presId="urn:microsoft.com/office/officeart/2008/layout/LinedList"/>
    <dgm:cxn modelId="{D2DD54E6-2CB5-4405-BED2-53439D405FFE}" type="presParOf" srcId="{9AC47248-C761-4D40-BE39-7BE24CE537C5}" destId="{A7106675-822F-4976-AF8D-8F38989288ED}" srcOrd="1" destOrd="0" presId="urn:microsoft.com/office/officeart/2008/layout/LinedList"/>
    <dgm:cxn modelId="{7863824A-8B2A-48AA-9311-ECAD3356D387}" type="presParOf" srcId="{9AC47248-C761-4D40-BE39-7BE24CE537C5}" destId="{079065FC-6850-496D-BAD9-FB83E075DE24}" srcOrd="2" destOrd="0" presId="urn:microsoft.com/office/officeart/2008/layout/LinedList"/>
    <dgm:cxn modelId="{3FA53A3D-78AF-4A97-87B0-64F24BEEB800}" type="presParOf" srcId="{FF37A776-2BDB-4FE9-BE67-F186718B5893}" destId="{3234F987-6CAB-4123-A75B-68CBFA89DDDB}" srcOrd="2" destOrd="0" presId="urn:microsoft.com/office/officeart/2008/layout/LinedList"/>
    <dgm:cxn modelId="{4E50C94C-A3FF-483D-B375-7ED4B9105FF0}" type="presParOf" srcId="{FF37A776-2BDB-4FE9-BE67-F186718B5893}" destId="{35FB8541-91C7-4508-9CF7-B622F02DB627}" srcOrd="3" destOrd="0" presId="urn:microsoft.com/office/officeart/2008/layout/LinedList"/>
    <dgm:cxn modelId="{871D0401-0AEF-4B12-8571-2793E5E65F70}" type="presParOf" srcId="{FF37A776-2BDB-4FE9-BE67-F186718B5893}" destId="{FD40F132-A76B-4BBC-8D8A-8EDA7F1DC9AF}" srcOrd="4" destOrd="0" presId="urn:microsoft.com/office/officeart/2008/layout/LinedList"/>
    <dgm:cxn modelId="{5EAE6A67-23B4-4A74-8A04-4BDC3B6EC6D3}" type="presParOf" srcId="{FD40F132-A76B-4BBC-8D8A-8EDA7F1DC9AF}" destId="{A4FC0317-99D3-4D2A-94B9-8E46FDE2E1F1}" srcOrd="0" destOrd="0" presId="urn:microsoft.com/office/officeart/2008/layout/LinedList"/>
    <dgm:cxn modelId="{725A23F0-5787-403E-9129-78C6111A7F4E}" type="presParOf" srcId="{FD40F132-A76B-4BBC-8D8A-8EDA7F1DC9AF}" destId="{2B96A4A2-1EC0-47C0-8183-D75F7B708537}" srcOrd="1" destOrd="0" presId="urn:microsoft.com/office/officeart/2008/layout/LinedList"/>
    <dgm:cxn modelId="{4C839A6C-03A0-42EE-A332-843217FA18C6}" type="presParOf" srcId="{FD40F132-A76B-4BBC-8D8A-8EDA7F1DC9AF}" destId="{D1C6D74F-2581-4E36-8C53-B74A900EC210}" srcOrd="2" destOrd="0" presId="urn:microsoft.com/office/officeart/2008/layout/LinedList"/>
    <dgm:cxn modelId="{76D1A972-8D64-4845-B150-22A36EA8EDA2}" type="presParOf" srcId="{FF37A776-2BDB-4FE9-BE67-F186718B5893}" destId="{033F78E7-F513-479F-9DFD-5723C5826C9B}" srcOrd="5" destOrd="0" presId="urn:microsoft.com/office/officeart/2008/layout/LinedList"/>
    <dgm:cxn modelId="{B3ABDE6B-83D6-4A2E-BE4B-B091BF99F2C3}" type="presParOf" srcId="{FF37A776-2BDB-4FE9-BE67-F186718B5893}" destId="{FC10F44E-52A2-420E-AC4A-06A8CF037FA7}" srcOrd="6" destOrd="0" presId="urn:microsoft.com/office/officeart/2008/layout/LinedList"/>
    <dgm:cxn modelId="{EC93F1F3-B655-4265-A2FA-C86E547A4AD0}" type="presParOf" srcId="{FF37A776-2BDB-4FE9-BE67-F186718B5893}" destId="{64E2F9A6-74DD-4FF6-9F5E-0051B2185F71}" srcOrd="7" destOrd="0" presId="urn:microsoft.com/office/officeart/2008/layout/LinedList"/>
    <dgm:cxn modelId="{6E4CBD0B-CF34-42CE-9E7B-B4E58BFDC965}" type="presParOf" srcId="{64E2F9A6-74DD-4FF6-9F5E-0051B2185F71}" destId="{63923983-5BF3-4E3F-8FCE-F4E05E18C02C}" srcOrd="0" destOrd="0" presId="urn:microsoft.com/office/officeart/2008/layout/LinedList"/>
    <dgm:cxn modelId="{66A8ACC5-F28B-4712-B649-900408AFB42B}" type="presParOf" srcId="{64E2F9A6-74DD-4FF6-9F5E-0051B2185F71}" destId="{A683039D-1EF1-4A45-9761-3618723F2551}" srcOrd="1" destOrd="0" presId="urn:microsoft.com/office/officeart/2008/layout/LinedList"/>
    <dgm:cxn modelId="{34547EE3-7F7A-48FC-A6D7-6B860BFB7AE1}" type="presParOf" srcId="{64E2F9A6-74DD-4FF6-9F5E-0051B2185F71}" destId="{154CAC88-65C9-4EAB-BFD8-39916F5C977D}" srcOrd="2" destOrd="0" presId="urn:microsoft.com/office/officeart/2008/layout/LinedList"/>
    <dgm:cxn modelId="{039391B2-286D-4266-B958-7E05F9C2817C}" type="presParOf" srcId="{FF37A776-2BDB-4FE9-BE67-F186718B5893}" destId="{EF983E92-DC40-42DB-8E64-D3721423A6A5}" srcOrd="8" destOrd="0" presId="urn:microsoft.com/office/officeart/2008/layout/LinedList"/>
    <dgm:cxn modelId="{C0D64EC8-E688-4EAF-80C4-A192C50BA19F}" type="presParOf" srcId="{FF37A776-2BDB-4FE9-BE67-F186718B5893}" destId="{35CB3EE8-CD90-46E9-9C68-DCFCAEEAEC78}" srcOrd="9" destOrd="0" presId="urn:microsoft.com/office/officeart/2008/layout/LinedList"/>
    <dgm:cxn modelId="{A5B30115-45F5-4E27-9FC0-92F8F648B141}" type="presParOf" srcId="{5548176F-51C8-471D-BD66-BB8DEB89382A}" destId="{CE7FCFC7-84B9-4F7C-9288-41D83C2B519D}" srcOrd="2" destOrd="0" presId="urn:microsoft.com/office/officeart/2008/layout/LinedList"/>
    <dgm:cxn modelId="{C3AF2B9B-C36C-4217-A91A-DB589A2392D6}" type="presParOf" srcId="{5548176F-51C8-471D-BD66-BB8DEB89382A}" destId="{0729A5A4-5E68-4720-91B8-A64F9CC605AE}" srcOrd="3" destOrd="0" presId="urn:microsoft.com/office/officeart/2008/layout/LinedList"/>
    <dgm:cxn modelId="{1AB06094-652C-421C-B709-FC64F0A4CE28}" type="presParOf" srcId="{0729A5A4-5E68-4720-91B8-A64F9CC605AE}" destId="{1F6708A2-C846-4C6C-BDC1-4D2ED59A4A10}" srcOrd="0" destOrd="0" presId="urn:microsoft.com/office/officeart/2008/layout/LinedList"/>
    <dgm:cxn modelId="{92518F8A-7480-4187-816C-79445BE8D5EA}" type="presParOf" srcId="{0729A5A4-5E68-4720-91B8-A64F9CC605AE}" destId="{98AC0FBC-E111-4208-B4D3-6A4DD13F0F6F}" srcOrd="1" destOrd="0" presId="urn:microsoft.com/office/officeart/2008/layout/LinedList"/>
    <dgm:cxn modelId="{93F5F702-7403-42BE-81AD-9C904EEDEEDF}" type="presParOf" srcId="{98AC0FBC-E111-4208-B4D3-6A4DD13F0F6F}" destId="{6FC5115B-A2E4-4A7D-9C68-28301C768889}" srcOrd="0" destOrd="0" presId="urn:microsoft.com/office/officeart/2008/layout/LinedList"/>
    <dgm:cxn modelId="{6470A27B-5046-429E-A1CE-52A98B453CDC}" type="presParOf" srcId="{98AC0FBC-E111-4208-B4D3-6A4DD13F0F6F}" destId="{18D2DA9D-F421-4FA7-BC75-6560D4AA0F38}" srcOrd="1" destOrd="0" presId="urn:microsoft.com/office/officeart/2008/layout/LinedList"/>
    <dgm:cxn modelId="{D12E202C-E64E-41A5-B154-01081428B3EA}" type="presParOf" srcId="{18D2DA9D-F421-4FA7-BC75-6560D4AA0F38}" destId="{D111F616-1017-4098-B8D6-FFCF54ED07AF}" srcOrd="0" destOrd="0" presId="urn:microsoft.com/office/officeart/2008/layout/LinedList"/>
    <dgm:cxn modelId="{5B248C05-3777-4A6A-A509-283B3E0DCDEC}" type="presParOf" srcId="{18D2DA9D-F421-4FA7-BC75-6560D4AA0F38}" destId="{E820C951-9934-49D9-8238-84A58A620BFF}" srcOrd="1" destOrd="0" presId="urn:microsoft.com/office/officeart/2008/layout/LinedList"/>
    <dgm:cxn modelId="{A82F8BF2-1FD1-4F3C-9DAA-E696BED6E37F}" type="presParOf" srcId="{18D2DA9D-F421-4FA7-BC75-6560D4AA0F38}" destId="{3C6F34B4-F04F-42CB-B36B-47465811E04B}" srcOrd="2" destOrd="0" presId="urn:microsoft.com/office/officeart/2008/layout/LinedList"/>
    <dgm:cxn modelId="{9691E35B-33BD-4063-B1DB-1FFDFDC2486E}" type="presParOf" srcId="{98AC0FBC-E111-4208-B4D3-6A4DD13F0F6F}" destId="{C88AAE9D-B06B-447B-82F6-22585D111C3B}" srcOrd="2" destOrd="0" presId="urn:microsoft.com/office/officeart/2008/layout/LinedList"/>
    <dgm:cxn modelId="{412C10B9-EB1E-484D-9A71-2A38FA0C4FF4}" type="presParOf" srcId="{98AC0FBC-E111-4208-B4D3-6A4DD13F0F6F}" destId="{20AA2BC8-9A54-4D2E-9F55-481C04793DBA}" srcOrd="3" destOrd="0" presId="urn:microsoft.com/office/officeart/2008/layout/LinedList"/>
    <dgm:cxn modelId="{F0EFB4A9-50C9-455C-9513-DC17C43AE781}" type="presParOf" srcId="{98AC0FBC-E111-4208-B4D3-6A4DD13F0F6F}" destId="{751CE238-97B4-43F0-94DA-EF244CA068E3}" srcOrd="4" destOrd="0" presId="urn:microsoft.com/office/officeart/2008/layout/LinedList"/>
    <dgm:cxn modelId="{302B0FE5-426D-46A6-A3F2-FD2EB9496C04}" type="presParOf" srcId="{751CE238-97B4-43F0-94DA-EF244CA068E3}" destId="{0B3F530D-C224-48CB-BB4C-1C36C286A728}" srcOrd="0" destOrd="0" presId="urn:microsoft.com/office/officeart/2008/layout/LinedList"/>
    <dgm:cxn modelId="{FDAD08B3-E01F-4BCF-99F5-C763A0F70F6A}" type="presParOf" srcId="{751CE238-97B4-43F0-94DA-EF244CA068E3}" destId="{5197B0E2-CEE8-4023-ACB4-20AB38D37636}" srcOrd="1" destOrd="0" presId="urn:microsoft.com/office/officeart/2008/layout/LinedList"/>
    <dgm:cxn modelId="{773EEF31-E3B0-423D-AD43-273C6D31C1B2}" type="presParOf" srcId="{751CE238-97B4-43F0-94DA-EF244CA068E3}" destId="{CA665EE9-92F9-4812-A2C9-742A025620F0}" srcOrd="2" destOrd="0" presId="urn:microsoft.com/office/officeart/2008/layout/LinedList"/>
    <dgm:cxn modelId="{5FCC4F45-91E4-4D02-8B0F-3492EF169703}" type="presParOf" srcId="{98AC0FBC-E111-4208-B4D3-6A4DD13F0F6F}" destId="{1929F746-3CC7-49FE-B2E8-65801374B7F3}" srcOrd="5" destOrd="0" presId="urn:microsoft.com/office/officeart/2008/layout/LinedList"/>
    <dgm:cxn modelId="{D4B48FCD-0548-4BBC-AF55-E3E7E9737B8D}" type="presParOf" srcId="{98AC0FBC-E111-4208-B4D3-6A4DD13F0F6F}" destId="{670350E0-1E0E-4820-BDE5-AFA7F40C190A}" srcOrd="6" destOrd="0" presId="urn:microsoft.com/office/officeart/2008/layout/LinedList"/>
    <dgm:cxn modelId="{81580717-D645-4435-B05B-0C550FDAC3F1}" type="presParOf" srcId="{98AC0FBC-E111-4208-B4D3-6A4DD13F0F6F}" destId="{BD610A71-EF5B-4597-B67A-527A74E77B78}" srcOrd="7" destOrd="0" presId="urn:microsoft.com/office/officeart/2008/layout/LinedList"/>
    <dgm:cxn modelId="{FA516BBA-BEBD-4A36-A76A-F7D2EFC2C32A}" type="presParOf" srcId="{BD610A71-EF5B-4597-B67A-527A74E77B78}" destId="{18D87437-8137-41FF-9065-3E6F6E945D81}" srcOrd="0" destOrd="0" presId="urn:microsoft.com/office/officeart/2008/layout/LinedList"/>
    <dgm:cxn modelId="{48197C2A-7170-448E-BEC0-2D82C0500ACC}" type="presParOf" srcId="{BD610A71-EF5B-4597-B67A-527A74E77B78}" destId="{3AC7EFEF-E2B1-42AF-BEFC-BCBE56A01649}" srcOrd="1" destOrd="0" presId="urn:microsoft.com/office/officeart/2008/layout/LinedList"/>
    <dgm:cxn modelId="{0F8A149E-323C-4886-9EFD-CF8A0098C1B2}" type="presParOf" srcId="{BD610A71-EF5B-4597-B67A-527A74E77B78}" destId="{985354C1-21FC-45D7-B4F7-65E83914959C}" srcOrd="2" destOrd="0" presId="urn:microsoft.com/office/officeart/2008/layout/LinedList"/>
    <dgm:cxn modelId="{B07F4430-E259-41DC-B70D-44564BC236DD}" type="presParOf" srcId="{98AC0FBC-E111-4208-B4D3-6A4DD13F0F6F}" destId="{C908F888-1CC5-4B09-BDDE-87AB7215C344}" srcOrd="8" destOrd="0" presId="urn:microsoft.com/office/officeart/2008/layout/LinedList"/>
    <dgm:cxn modelId="{58460E81-895E-448F-930A-F821A684CED9}" type="presParOf" srcId="{98AC0FBC-E111-4208-B4D3-6A4DD13F0F6F}" destId="{9F98B5E7-78E1-4C3B-8970-B92A9AE34921}" srcOrd="9" destOrd="0" presId="urn:microsoft.com/office/officeart/2008/layout/LinedList"/>
    <dgm:cxn modelId="{F545DA91-D701-4A39-8A37-2AE47203EE92}" type="presParOf" srcId="{5548176F-51C8-471D-BD66-BB8DEB89382A}" destId="{F6EC5B28-1869-4F59-A513-B677CB54BC53}" srcOrd="4" destOrd="0" presId="urn:microsoft.com/office/officeart/2008/layout/LinedList"/>
    <dgm:cxn modelId="{ED79174B-8226-4DD3-ABC4-BF1E7E2FEA5A}" type="presParOf" srcId="{5548176F-51C8-471D-BD66-BB8DEB89382A}" destId="{948C4408-AE44-413B-B3D0-849CF5A84FCD}" srcOrd="5" destOrd="0" presId="urn:microsoft.com/office/officeart/2008/layout/LinedList"/>
    <dgm:cxn modelId="{D790366F-982D-4C33-AFDF-157CDD483B4B}" type="presParOf" srcId="{948C4408-AE44-413B-B3D0-849CF5A84FCD}" destId="{8AB7D92F-2FEE-4B91-BEE6-143F77145A9A}" srcOrd="0" destOrd="0" presId="urn:microsoft.com/office/officeart/2008/layout/LinedList"/>
    <dgm:cxn modelId="{85AF3E48-C4FD-445A-95F3-FFA2BA0CA7D0}" type="presParOf" srcId="{948C4408-AE44-413B-B3D0-849CF5A84FCD}" destId="{EB36BA2D-123F-4B8E-B50D-F94FD824EA55}" srcOrd="1" destOrd="0" presId="urn:microsoft.com/office/officeart/2008/layout/LinedList"/>
    <dgm:cxn modelId="{E0EDE091-6FDD-4C26-884D-9D50C8C44470}" type="presParOf" srcId="{EB36BA2D-123F-4B8E-B50D-F94FD824EA55}" destId="{D746C5A3-5639-4AE8-92BA-99C0C8C9DA4D}" srcOrd="0" destOrd="0" presId="urn:microsoft.com/office/officeart/2008/layout/LinedList"/>
    <dgm:cxn modelId="{659A8484-8B81-4132-B697-A3FD33595CF0}" type="presParOf" srcId="{EB36BA2D-123F-4B8E-B50D-F94FD824EA55}" destId="{B48BC61A-F996-40C8-9AF8-42DEE4980C6A}" srcOrd="1" destOrd="0" presId="urn:microsoft.com/office/officeart/2008/layout/LinedList"/>
    <dgm:cxn modelId="{BB7C7AF0-F31D-4BE3-853B-5EC31C2E2B06}" type="presParOf" srcId="{B48BC61A-F996-40C8-9AF8-42DEE4980C6A}" destId="{24AE0864-6534-4E90-8DB5-92924499E44A}" srcOrd="0" destOrd="0" presId="urn:microsoft.com/office/officeart/2008/layout/LinedList"/>
    <dgm:cxn modelId="{0878EAC4-0CDD-4121-B1C9-F4BA25226F3E}" type="presParOf" srcId="{B48BC61A-F996-40C8-9AF8-42DEE4980C6A}" destId="{6DED169E-AAC4-420E-A02A-65B9A2EADCC3}" srcOrd="1" destOrd="0" presId="urn:microsoft.com/office/officeart/2008/layout/LinedList"/>
    <dgm:cxn modelId="{119AF5CE-A150-435B-A9B5-3D18464EFB17}" type="presParOf" srcId="{B48BC61A-F996-40C8-9AF8-42DEE4980C6A}" destId="{FCFA319D-D0E0-43D2-AA90-652E61DD6DF5}" srcOrd="2" destOrd="0" presId="urn:microsoft.com/office/officeart/2008/layout/LinedList"/>
    <dgm:cxn modelId="{4F96E783-507C-49D9-AFDF-540DE07A2F83}" type="presParOf" srcId="{EB36BA2D-123F-4B8E-B50D-F94FD824EA55}" destId="{B9FCF0C5-5AAB-462F-80A8-F23D237F87BD}" srcOrd="2" destOrd="0" presId="urn:microsoft.com/office/officeart/2008/layout/LinedList"/>
    <dgm:cxn modelId="{AC6BFF0B-92B5-4B0D-8E72-C1234EC3AE60}" type="presParOf" srcId="{EB36BA2D-123F-4B8E-B50D-F94FD824EA55}" destId="{380E9673-0ED4-42F3-9428-A6BCB8ED63E5}" srcOrd="3" destOrd="0" presId="urn:microsoft.com/office/officeart/2008/layout/LinedList"/>
    <dgm:cxn modelId="{1812E3E7-0BF1-4241-A311-FF99F9932D49}" type="presParOf" srcId="{EB36BA2D-123F-4B8E-B50D-F94FD824EA55}" destId="{EF00770C-6C81-4519-B960-227FBB458888}" srcOrd="4" destOrd="0" presId="urn:microsoft.com/office/officeart/2008/layout/LinedList"/>
    <dgm:cxn modelId="{7E92782F-DBE9-4356-8E3E-93206174D8F6}" type="presParOf" srcId="{EF00770C-6C81-4519-B960-227FBB458888}" destId="{C00158D5-3AE7-434B-83CD-53D4C6FC99F0}" srcOrd="0" destOrd="0" presId="urn:microsoft.com/office/officeart/2008/layout/LinedList"/>
    <dgm:cxn modelId="{DDACA4E4-B4AE-4E74-B967-9C44C9A1596B}" type="presParOf" srcId="{EF00770C-6C81-4519-B960-227FBB458888}" destId="{87553085-D284-493B-B93D-6A80701F7405}" srcOrd="1" destOrd="0" presId="urn:microsoft.com/office/officeart/2008/layout/LinedList"/>
    <dgm:cxn modelId="{8BEEFC6A-8F48-48D8-B57F-CBF93E31AD7A}" type="presParOf" srcId="{EF00770C-6C81-4519-B960-227FBB458888}" destId="{E4C5AA0E-6226-43B8-8308-99A266AD9C41}" srcOrd="2" destOrd="0" presId="urn:microsoft.com/office/officeart/2008/layout/LinedList"/>
    <dgm:cxn modelId="{A534A0B3-DA20-43FD-92D3-D9AAD24E5676}" type="presParOf" srcId="{EB36BA2D-123F-4B8E-B50D-F94FD824EA55}" destId="{A704B2C1-DF6C-4816-A213-9D8B5EDDB908}" srcOrd="5" destOrd="0" presId="urn:microsoft.com/office/officeart/2008/layout/LinedList"/>
    <dgm:cxn modelId="{C4FFDA3B-FCE3-4280-9231-3E4AD39DF4F7}" type="presParOf" srcId="{EB36BA2D-123F-4B8E-B50D-F94FD824EA55}" destId="{D696B749-4922-446E-83F2-926A4C20202F}" srcOrd="6" destOrd="0" presId="urn:microsoft.com/office/officeart/2008/layout/LinedList"/>
    <dgm:cxn modelId="{30CF0C56-0748-48FA-8B4D-80C6C553DC71}" type="presParOf" srcId="{5548176F-51C8-471D-BD66-BB8DEB89382A}" destId="{69298E3E-D657-4B10-A572-4365FADE27FC}" srcOrd="6" destOrd="0" presId="urn:microsoft.com/office/officeart/2008/layout/LinedList"/>
    <dgm:cxn modelId="{7E70771C-E6CD-4E91-A87E-B3153A3479C2}" type="presParOf" srcId="{5548176F-51C8-471D-BD66-BB8DEB89382A}" destId="{3EF66F61-0D90-4EBC-97D1-366E4E50346B}" srcOrd="7" destOrd="0" presId="urn:microsoft.com/office/officeart/2008/layout/LinedList"/>
    <dgm:cxn modelId="{A51E7AD9-F04E-4669-9A9A-1797C4AEEED0}" type="presParOf" srcId="{3EF66F61-0D90-4EBC-97D1-366E4E50346B}" destId="{92E088ED-BE0E-4CFB-A13C-E3C883407970}" srcOrd="0" destOrd="0" presId="urn:microsoft.com/office/officeart/2008/layout/LinedList"/>
    <dgm:cxn modelId="{EA407871-FD02-4E3D-8563-D60E02A5BF55}" type="presParOf" srcId="{3EF66F61-0D90-4EBC-97D1-366E4E50346B}" destId="{E64A4412-782E-4F97-AD4E-1BE878745A6D}" srcOrd="1" destOrd="0" presId="urn:microsoft.com/office/officeart/2008/layout/LinedList"/>
    <dgm:cxn modelId="{7C805EF5-C236-4C51-9ACE-69912E702CA9}" type="presParOf" srcId="{E64A4412-782E-4F97-AD4E-1BE878745A6D}" destId="{4AC4E90A-EB3D-4AE6-8C41-7E4469071389}" srcOrd="0" destOrd="0" presId="urn:microsoft.com/office/officeart/2008/layout/LinedList"/>
    <dgm:cxn modelId="{99024D78-CA02-4740-9551-BC9CBAF4B397}" type="presParOf" srcId="{E64A4412-782E-4F97-AD4E-1BE878745A6D}" destId="{94629D11-5619-43E0-B4CC-149305323EA1}" srcOrd="1" destOrd="0" presId="urn:microsoft.com/office/officeart/2008/layout/LinedList"/>
    <dgm:cxn modelId="{FE2921A7-0DAE-421A-8E7F-E980D0E40940}" type="presParOf" srcId="{94629D11-5619-43E0-B4CC-149305323EA1}" destId="{1330E4C0-DE06-420D-B90B-CF103E52E841}" srcOrd="0" destOrd="0" presId="urn:microsoft.com/office/officeart/2008/layout/LinedList"/>
    <dgm:cxn modelId="{CB7963F9-499C-42FA-A96D-49F7D4A4EA89}" type="presParOf" srcId="{94629D11-5619-43E0-B4CC-149305323EA1}" destId="{86085629-6911-4143-AD27-9C3CE314D1CF}" srcOrd="1" destOrd="0" presId="urn:microsoft.com/office/officeart/2008/layout/LinedList"/>
    <dgm:cxn modelId="{E9810C34-7B22-4E07-84DD-A78E2F9458A5}" type="presParOf" srcId="{94629D11-5619-43E0-B4CC-149305323EA1}" destId="{693AC416-EE82-4F1F-8A18-21F6ED34478D}" srcOrd="2" destOrd="0" presId="urn:microsoft.com/office/officeart/2008/layout/LinedList"/>
    <dgm:cxn modelId="{F15AC133-8017-44F5-87E4-E821A2169BA5}" type="presParOf" srcId="{E64A4412-782E-4F97-AD4E-1BE878745A6D}" destId="{E51E992F-30E2-41BB-967A-4E9202DD8598}" srcOrd="2" destOrd="0" presId="urn:microsoft.com/office/officeart/2008/layout/LinedList"/>
    <dgm:cxn modelId="{36A58F45-FDBD-47D0-BA40-441189F2992A}" type="presParOf" srcId="{E64A4412-782E-4F97-AD4E-1BE878745A6D}" destId="{6EC656B6-2356-4528-AE58-0E24FBE2847C}" srcOrd="3" destOrd="0" presId="urn:microsoft.com/office/officeart/2008/layout/LinedList"/>
    <dgm:cxn modelId="{EABE7609-9440-4A7E-B3F9-3AC2EB633C60}" type="presParOf" srcId="{E64A4412-782E-4F97-AD4E-1BE878745A6D}" destId="{4F867DAC-F7D0-4D5E-8886-B383F6853C16}" srcOrd="4" destOrd="0" presId="urn:microsoft.com/office/officeart/2008/layout/LinedList"/>
    <dgm:cxn modelId="{02A443AB-E669-4FBB-B1F1-C1FBA75AE771}" type="presParOf" srcId="{4F867DAC-F7D0-4D5E-8886-B383F6853C16}" destId="{A9086EF1-2747-47E5-AD94-E0EF9DA2C942}" srcOrd="0" destOrd="0" presId="urn:microsoft.com/office/officeart/2008/layout/LinedList"/>
    <dgm:cxn modelId="{8694C517-D97E-46AB-A899-C53DD3A8673E}" type="presParOf" srcId="{4F867DAC-F7D0-4D5E-8886-B383F6853C16}" destId="{2A447E30-8F7F-44EB-B6A9-DBAE5DFA79E8}" srcOrd="1" destOrd="0" presId="urn:microsoft.com/office/officeart/2008/layout/LinedList"/>
    <dgm:cxn modelId="{BD533913-5475-43B6-911E-29F4E5635B1B}" type="presParOf" srcId="{4F867DAC-F7D0-4D5E-8886-B383F6853C16}" destId="{02608C15-021A-44AF-9318-9A653AD63D29}" srcOrd="2" destOrd="0" presId="urn:microsoft.com/office/officeart/2008/layout/LinedList"/>
    <dgm:cxn modelId="{E30918FE-CB15-4E7A-B447-102ED00F6147}" type="presParOf" srcId="{E64A4412-782E-4F97-AD4E-1BE878745A6D}" destId="{A241177B-0740-40A5-A0C2-04B0E97DAC4E}" srcOrd="5" destOrd="0" presId="urn:microsoft.com/office/officeart/2008/layout/LinedList"/>
    <dgm:cxn modelId="{EB2BF890-A8CB-4003-A3A6-6694A7559F19}" type="presParOf" srcId="{E64A4412-782E-4F97-AD4E-1BE878745A6D}" destId="{0A333D7A-BF79-456F-919D-C38015D7471E}" srcOrd="6" destOrd="0" presId="urn:microsoft.com/office/officeart/2008/layout/LinedList"/>
    <dgm:cxn modelId="{A9ACC5F6-BF58-498F-9DE7-8E1BE26AB572}" type="presParOf" srcId="{E64A4412-782E-4F97-AD4E-1BE878745A6D}" destId="{03442E08-2482-4274-A8B7-F88755028D91}" srcOrd="7" destOrd="0" presId="urn:microsoft.com/office/officeart/2008/layout/LinedList"/>
    <dgm:cxn modelId="{A1CC4F57-96ED-4E95-A910-DD5D7D6BD83C}" type="presParOf" srcId="{03442E08-2482-4274-A8B7-F88755028D91}" destId="{1809154F-76D2-47C9-804F-9E6BF715C280}" srcOrd="0" destOrd="0" presId="urn:microsoft.com/office/officeart/2008/layout/LinedList"/>
    <dgm:cxn modelId="{DF7A6F96-5B1D-4618-848D-D81ED87985EF}" type="presParOf" srcId="{03442E08-2482-4274-A8B7-F88755028D91}" destId="{525F8C24-F9FA-44EC-9466-C6DB3339F584}" srcOrd="1" destOrd="0" presId="urn:microsoft.com/office/officeart/2008/layout/LinedList"/>
    <dgm:cxn modelId="{281D5ECB-99CD-48BA-8563-6B0AB307BFF7}" type="presParOf" srcId="{03442E08-2482-4274-A8B7-F88755028D91}" destId="{960FB7D6-B78C-4A15-B58A-BE8A671C3D28}" srcOrd="2" destOrd="0" presId="urn:microsoft.com/office/officeart/2008/layout/LinedList"/>
    <dgm:cxn modelId="{29BA5DE7-6762-410D-8ACA-2DA74565FAC4}" type="presParOf" srcId="{E64A4412-782E-4F97-AD4E-1BE878745A6D}" destId="{8E9882F2-8288-422E-8EF6-8AD2E97E4266}" srcOrd="8" destOrd="0" presId="urn:microsoft.com/office/officeart/2008/layout/LinedList"/>
    <dgm:cxn modelId="{156B5A1D-13C9-4576-B883-E19D70044130}" type="presParOf" srcId="{E64A4412-782E-4F97-AD4E-1BE878745A6D}" destId="{754F82BE-D805-4008-B412-406D7B33DBF5}" srcOrd="9" destOrd="0" presId="urn:microsoft.com/office/officeart/2008/layout/LinedList"/>
    <dgm:cxn modelId="{418A3CC2-6EE8-49B1-B89A-72260F73898A}" type="presParOf" srcId="{5548176F-51C8-471D-BD66-BB8DEB89382A}" destId="{59B21148-EE40-44AD-B4CD-1CC879E894C0}" srcOrd="8" destOrd="0" presId="urn:microsoft.com/office/officeart/2008/layout/LinedList"/>
    <dgm:cxn modelId="{D6D2CA5B-A397-426E-A8DE-23A447D7E3DD}" type="presParOf" srcId="{5548176F-51C8-471D-BD66-BB8DEB89382A}" destId="{C38307F3-F0CB-4285-85DF-EFAA5D4CD555}" srcOrd="9" destOrd="0" presId="urn:microsoft.com/office/officeart/2008/layout/LinedList"/>
    <dgm:cxn modelId="{0C64DB82-1B04-49A3-A164-18F5FE9378EC}" type="presParOf" srcId="{C38307F3-F0CB-4285-85DF-EFAA5D4CD555}" destId="{F44ECB59-AB78-469B-99E5-8126F406BC32}" srcOrd="0" destOrd="0" presId="urn:microsoft.com/office/officeart/2008/layout/LinedList"/>
    <dgm:cxn modelId="{E7A62633-9453-4D36-80F2-56AE20A328DA}" type="presParOf" srcId="{C38307F3-F0CB-4285-85DF-EFAA5D4CD555}" destId="{770E284B-FCB6-4607-9315-1A8178E2EA8F}" srcOrd="1" destOrd="0" presId="urn:microsoft.com/office/officeart/2008/layout/LinedList"/>
    <dgm:cxn modelId="{457B005D-DE95-43D5-9353-54DBE0CE55B8}" type="presParOf" srcId="{770E284B-FCB6-4607-9315-1A8178E2EA8F}" destId="{D401E9DE-AC2C-45B4-80BD-7E8746C12446}" srcOrd="0" destOrd="0" presId="urn:microsoft.com/office/officeart/2008/layout/LinedList"/>
    <dgm:cxn modelId="{92EB8C81-66EA-4374-91F3-86ED09B09D93}" type="presParOf" srcId="{770E284B-FCB6-4607-9315-1A8178E2EA8F}" destId="{F628B6F1-DA15-43D3-8CD5-C5DE22D72C85}" srcOrd="1" destOrd="0" presId="urn:microsoft.com/office/officeart/2008/layout/LinedList"/>
    <dgm:cxn modelId="{445A6ECD-E7E7-4E35-AAEE-49D54C5CC796}" type="presParOf" srcId="{F628B6F1-DA15-43D3-8CD5-C5DE22D72C85}" destId="{9ABC0175-8834-4BD5-82F5-944606F7A2F6}" srcOrd="0" destOrd="0" presId="urn:microsoft.com/office/officeart/2008/layout/LinedList"/>
    <dgm:cxn modelId="{E8DA9167-A994-4A50-B595-1CB52E8C54B8}" type="presParOf" srcId="{F628B6F1-DA15-43D3-8CD5-C5DE22D72C85}" destId="{1072DA3F-492D-4491-AF46-934393AFD184}" srcOrd="1" destOrd="0" presId="urn:microsoft.com/office/officeart/2008/layout/LinedList"/>
    <dgm:cxn modelId="{B3E3EF69-EBA4-43F3-A82A-D8F0CE6BCF1B}" type="presParOf" srcId="{F628B6F1-DA15-43D3-8CD5-C5DE22D72C85}" destId="{F961C779-CAFC-4457-A03C-19E3A2737E26}" srcOrd="2" destOrd="0" presId="urn:microsoft.com/office/officeart/2008/layout/LinedList"/>
    <dgm:cxn modelId="{A2DEE948-D38C-4EBD-8A17-B212A79453E8}" type="presParOf" srcId="{770E284B-FCB6-4607-9315-1A8178E2EA8F}" destId="{876274E7-E74D-4AED-8A02-EE0C7189D1D9}" srcOrd="2" destOrd="0" presId="urn:microsoft.com/office/officeart/2008/layout/LinedList"/>
    <dgm:cxn modelId="{A9CD1EE9-CE31-4745-9A60-316AF5C0CF83}" type="presParOf" srcId="{770E284B-FCB6-4607-9315-1A8178E2EA8F}" destId="{F9EF3E43-9161-4ECF-93C9-64C62DF8D962}" srcOrd="3" destOrd="0" presId="urn:microsoft.com/office/officeart/2008/layout/LinedList"/>
    <dgm:cxn modelId="{AF760A2D-F04A-475B-AA0E-7C07D7F20FB5}" type="presParOf" srcId="{770E284B-FCB6-4607-9315-1A8178E2EA8F}" destId="{C1B6526E-3420-4585-850B-98F3BE868988}" srcOrd="4" destOrd="0" presId="urn:microsoft.com/office/officeart/2008/layout/LinedList"/>
    <dgm:cxn modelId="{D82884C8-BC2F-4284-8A81-9878AFE170F0}" type="presParOf" srcId="{C1B6526E-3420-4585-850B-98F3BE868988}" destId="{A7B1C73B-A786-47B4-9196-BEAC5C96082A}" srcOrd="0" destOrd="0" presId="urn:microsoft.com/office/officeart/2008/layout/LinedList"/>
    <dgm:cxn modelId="{B4C29C18-0B99-40E5-8D75-97730907A47D}" type="presParOf" srcId="{C1B6526E-3420-4585-850B-98F3BE868988}" destId="{84120C87-B50B-40C5-BE1A-205D6BB98D85}" srcOrd="1" destOrd="0" presId="urn:microsoft.com/office/officeart/2008/layout/LinedList"/>
    <dgm:cxn modelId="{4656792D-B36B-44FD-BFEC-E4E85D476D18}" type="presParOf" srcId="{C1B6526E-3420-4585-850B-98F3BE868988}" destId="{73253B0C-5F65-455D-B7B5-F4971EEBCE4A}" srcOrd="2" destOrd="0" presId="urn:microsoft.com/office/officeart/2008/layout/LinedList"/>
    <dgm:cxn modelId="{4191597E-6609-404E-A0AE-E1BD2AA61C3B}" type="presParOf" srcId="{770E284B-FCB6-4607-9315-1A8178E2EA8F}" destId="{3FA5D2C5-097A-4E48-B49F-0CF01A12ED97}" srcOrd="5" destOrd="0" presId="urn:microsoft.com/office/officeart/2008/layout/LinedList"/>
    <dgm:cxn modelId="{2C0173F7-FF14-4957-A3D4-336E7C950771}" type="presParOf" srcId="{770E284B-FCB6-4607-9315-1A8178E2EA8F}" destId="{031ED5DB-CEB8-4C1C-B917-B22C5278B8FE}" srcOrd="6" destOrd="0" presId="urn:microsoft.com/office/officeart/2008/layout/LinedList"/>
    <dgm:cxn modelId="{3039646D-9E0D-466B-B19B-B8155246B872}" type="presParOf" srcId="{770E284B-FCB6-4607-9315-1A8178E2EA8F}" destId="{A46A7F23-3425-4BDB-97FE-52C8CE246DBC}" srcOrd="7" destOrd="0" presId="urn:microsoft.com/office/officeart/2008/layout/LinedList"/>
    <dgm:cxn modelId="{961B2311-7E5C-4D0A-9CC7-DA6C094788A8}" type="presParOf" srcId="{A46A7F23-3425-4BDB-97FE-52C8CE246DBC}" destId="{577797E4-3C50-4B99-B027-1096DB495A02}" srcOrd="0" destOrd="0" presId="urn:microsoft.com/office/officeart/2008/layout/LinedList"/>
    <dgm:cxn modelId="{9C35DDB2-9C5B-4746-A423-CB675CC3A753}" type="presParOf" srcId="{A46A7F23-3425-4BDB-97FE-52C8CE246DBC}" destId="{73399154-D278-4827-8724-F730EB1D3661}" srcOrd="1" destOrd="0" presId="urn:microsoft.com/office/officeart/2008/layout/LinedList"/>
    <dgm:cxn modelId="{8F4E84AB-2F09-4FE7-8FCF-01DA091FA590}" type="presParOf" srcId="{A46A7F23-3425-4BDB-97FE-52C8CE246DBC}" destId="{551D89FF-D8EF-4EFC-903A-FB4B78D07B49}" srcOrd="2" destOrd="0" presId="urn:microsoft.com/office/officeart/2008/layout/LinedList"/>
    <dgm:cxn modelId="{0B60555E-6F94-4DFD-91F3-6EED9620113E}" type="presParOf" srcId="{770E284B-FCB6-4607-9315-1A8178E2EA8F}" destId="{6DD76EEE-4A00-4FED-AB16-D07C2C032835}" srcOrd="8" destOrd="0" presId="urn:microsoft.com/office/officeart/2008/layout/LinedList"/>
    <dgm:cxn modelId="{CC83DD04-4370-482D-AEC2-720E77818CD8}" type="presParOf" srcId="{770E284B-FCB6-4607-9315-1A8178E2EA8F}" destId="{91C9E08E-AF88-4222-8218-2361A23BF7F1}" srcOrd="9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97C447-9D26-480E-9849-E52F50096E6B}">
      <dsp:nvSpPr>
        <dsp:cNvPr id="0" name=""/>
        <dsp:cNvSpPr/>
      </dsp:nvSpPr>
      <dsp:spPr>
        <a:xfrm>
          <a:off x="0" y="995"/>
          <a:ext cx="1757325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D3A486-F9D6-4605-93C1-EBF712B7A079}">
      <dsp:nvSpPr>
        <dsp:cNvPr id="0" name=""/>
        <dsp:cNvSpPr/>
      </dsp:nvSpPr>
      <dsp:spPr>
        <a:xfrm>
          <a:off x="0" y="995"/>
          <a:ext cx="3514650" cy="1631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82563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noProof="0" dirty="0"/>
            <a:t>Netzentgelte</a:t>
          </a:r>
        </a:p>
      </dsp:txBody>
      <dsp:txXfrm>
        <a:off x="0" y="995"/>
        <a:ext cx="3514650" cy="1631102"/>
      </dsp:txXfrm>
    </dsp:sp>
    <dsp:sp modelId="{A7106675-822F-4976-AF8D-8F38989288ED}">
      <dsp:nvSpPr>
        <dsp:cNvPr id="0" name=""/>
        <dsp:cNvSpPr/>
      </dsp:nvSpPr>
      <dsp:spPr>
        <a:xfrm>
          <a:off x="3778249" y="26481"/>
          <a:ext cx="13795002" cy="5097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360363" lvl="0" indent="-1841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b="1" kern="1200" noProof="0" dirty="0"/>
            <a:t>Befreiungstatbestand</a:t>
          </a:r>
          <a:r>
            <a:rPr lang="de-DE" sz="1800" kern="1200" noProof="0" dirty="0"/>
            <a:t> nach § 118 Abs. 6 EnWG von IBN bis 2029 abhängig</a:t>
          </a:r>
        </a:p>
      </dsp:txBody>
      <dsp:txXfrm>
        <a:off x="3778249" y="26481"/>
        <a:ext cx="13795002" cy="509719"/>
      </dsp:txXfrm>
    </dsp:sp>
    <dsp:sp modelId="{3234F987-6CAB-4123-A75B-68CBFA89DDDB}">
      <dsp:nvSpPr>
        <dsp:cNvPr id="0" name=""/>
        <dsp:cNvSpPr/>
      </dsp:nvSpPr>
      <dsp:spPr>
        <a:xfrm>
          <a:off x="3514650" y="536201"/>
          <a:ext cx="140586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96A4A2-1EC0-47C0-8183-D75F7B708537}">
      <dsp:nvSpPr>
        <dsp:cNvPr id="0" name=""/>
        <dsp:cNvSpPr/>
      </dsp:nvSpPr>
      <dsp:spPr>
        <a:xfrm>
          <a:off x="3778249" y="561687"/>
          <a:ext cx="13795002" cy="5097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360363" lvl="0" indent="-1841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kern="1200" noProof="0" dirty="0"/>
            <a:t>Führt in der Praxis zu Unsicherheit bei Investoren und </a:t>
          </a:r>
          <a:r>
            <a:rPr lang="de-DE" sz="1800" b="1" kern="1200" noProof="0" dirty="0"/>
            <a:t>Marktverzerrungen</a:t>
          </a:r>
          <a:r>
            <a:rPr lang="de-DE" sz="1800" kern="1200" noProof="0" dirty="0"/>
            <a:t> bei Projekten mit IBN vor und nach 2029</a:t>
          </a:r>
        </a:p>
      </dsp:txBody>
      <dsp:txXfrm>
        <a:off x="3778249" y="561687"/>
        <a:ext cx="13795002" cy="509719"/>
      </dsp:txXfrm>
    </dsp:sp>
    <dsp:sp modelId="{033F78E7-F513-479F-9DFD-5723C5826C9B}">
      <dsp:nvSpPr>
        <dsp:cNvPr id="0" name=""/>
        <dsp:cNvSpPr/>
      </dsp:nvSpPr>
      <dsp:spPr>
        <a:xfrm>
          <a:off x="3514650" y="1071406"/>
          <a:ext cx="140586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83039D-1EF1-4A45-9761-3618723F2551}">
      <dsp:nvSpPr>
        <dsp:cNvPr id="0" name=""/>
        <dsp:cNvSpPr/>
      </dsp:nvSpPr>
      <dsp:spPr>
        <a:xfrm>
          <a:off x="3778249" y="1096892"/>
          <a:ext cx="13795002" cy="5097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360363" lvl="0" indent="-1841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kern="1200" noProof="0" dirty="0"/>
            <a:t>Zuständigkeit bei BNetzA, jedoch gesetzliche Verankerung eines </a:t>
          </a:r>
          <a:r>
            <a:rPr lang="de-DE" sz="1800" b="1" kern="1200" noProof="0" dirty="0"/>
            <a:t>Festlegungszeitpunkts</a:t>
          </a:r>
          <a:r>
            <a:rPr lang="de-DE" sz="1800" kern="1200" noProof="0" dirty="0"/>
            <a:t> denkbar </a:t>
          </a:r>
        </a:p>
      </dsp:txBody>
      <dsp:txXfrm>
        <a:off x="3778249" y="1096892"/>
        <a:ext cx="13795002" cy="509719"/>
      </dsp:txXfrm>
    </dsp:sp>
    <dsp:sp modelId="{EF983E92-DC40-42DB-8E64-D3721423A6A5}">
      <dsp:nvSpPr>
        <dsp:cNvPr id="0" name=""/>
        <dsp:cNvSpPr/>
      </dsp:nvSpPr>
      <dsp:spPr>
        <a:xfrm>
          <a:off x="3514650" y="1606611"/>
          <a:ext cx="140586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7FCFC7-84B9-4F7C-9288-41D83C2B519D}">
      <dsp:nvSpPr>
        <dsp:cNvPr id="0" name=""/>
        <dsp:cNvSpPr/>
      </dsp:nvSpPr>
      <dsp:spPr>
        <a:xfrm>
          <a:off x="0" y="1632097"/>
          <a:ext cx="1757325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6708A2-C846-4C6C-BDC1-4D2ED59A4A10}">
      <dsp:nvSpPr>
        <dsp:cNvPr id="0" name=""/>
        <dsp:cNvSpPr/>
      </dsp:nvSpPr>
      <dsp:spPr>
        <a:xfrm>
          <a:off x="0" y="1632097"/>
          <a:ext cx="3514650" cy="1631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82563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noProof="0" dirty="0"/>
            <a:t>Netzanschluss</a:t>
          </a:r>
        </a:p>
      </dsp:txBody>
      <dsp:txXfrm>
        <a:off x="0" y="1632097"/>
        <a:ext cx="3514650" cy="1631102"/>
      </dsp:txXfrm>
    </dsp:sp>
    <dsp:sp modelId="{E820C951-9934-49D9-8238-84A58A620BFF}">
      <dsp:nvSpPr>
        <dsp:cNvPr id="0" name=""/>
        <dsp:cNvSpPr/>
      </dsp:nvSpPr>
      <dsp:spPr>
        <a:xfrm>
          <a:off x="3778249" y="1657583"/>
          <a:ext cx="13795002" cy="5097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360363" lvl="0" indent="-1841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b="1" kern="1200" noProof="0" dirty="0"/>
            <a:t>Kein privilegierter Netzanschluss</a:t>
          </a:r>
          <a:r>
            <a:rPr lang="de-DE" sz="1800" kern="1200" noProof="0" dirty="0"/>
            <a:t> von Batteriespeichern (im Solarpaket I klargestellt)</a:t>
          </a:r>
        </a:p>
      </dsp:txBody>
      <dsp:txXfrm>
        <a:off x="3778249" y="1657583"/>
        <a:ext cx="13795002" cy="509719"/>
      </dsp:txXfrm>
    </dsp:sp>
    <dsp:sp modelId="{C88AAE9D-B06B-447B-82F6-22585D111C3B}">
      <dsp:nvSpPr>
        <dsp:cNvPr id="0" name=""/>
        <dsp:cNvSpPr/>
      </dsp:nvSpPr>
      <dsp:spPr>
        <a:xfrm>
          <a:off x="3514650" y="2167303"/>
          <a:ext cx="140586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97B0E2-CEE8-4023-ACB4-20AB38D37636}">
      <dsp:nvSpPr>
        <dsp:cNvPr id="0" name=""/>
        <dsp:cNvSpPr/>
      </dsp:nvSpPr>
      <dsp:spPr>
        <a:xfrm>
          <a:off x="3778249" y="2192789"/>
          <a:ext cx="13795002" cy="5097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6213" lvl="0" indent="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kern="1200" noProof="0" dirty="0"/>
            <a:t>Für Speicher &gt; 100 MW auf Hochspannungsebene ist </a:t>
          </a:r>
          <a:r>
            <a:rPr lang="de-DE" sz="1800" b="1" kern="1200" noProof="0" dirty="0"/>
            <a:t>Netzanschlussrechtsregime </a:t>
          </a:r>
          <a:r>
            <a:rPr lang="de-DE" sz="1800" kern="1200" noProof="0" dirty="0"/>
            <a:t>nicht klar (</a:t>
          </a:r>
          <a:r>
            <a:rPr lang="de-DE" sz="1800" kern="1200" noProof="0" dirty="0" err="1"/>
            <a:t>KraftNAV</a:t>
          </a:r>
          <a:r>
            <a:rPr lang="de-DE" sz="1800" kern="1200" noProof="0" dirty="0"/>
            <a:t> oder § 17 EnWG?)  </a:t>
          </a:r>
        </a:p>
      </dsp:txBody>
      <dsp:txXfrm>
        <a:off x="3778249" y="2192789"/>
        <a:ext cx="13795002" cy="509719"/>
      </dsp:txXfrm>
    </dsp:sp>
    <dsp:sp modelId="{1929F746-3CC7-49FE-B2E8-65801374B7F3}">
      <dsp:nvSpPr>
        <dsp:cNvPr id="0" name=""/>
        <dsp:cNvSpPr/>
      </dsp:nvSpPr>
      <dsp:spPr>
        <a:xfrm>
          <a:off x="3514650" y="2702508"/>
          <a:ext cx="140586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C7EFEF-E2B1-42AF-BEFC-BCBE56A01649}">
      <dsp:nvSpPr>
        <dsp:cNvPr id="0" name=""/>
        <dsp:cNvSpPr/>
      </dsp:nvSpPr>
      <dsp:spPr>
        <a:xfrm>
          <a:off x="3778249" y="2727994"/>
          <a:ext cx="13795002" cy="5097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360363" lvl="0" indent="-1841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b="1" kern="1200" noProof="0" dirty="0"/>
            <a:t>Kein Anspruch auf „Überbau“ </a:t>
          </a:r>
          <a:r>
            <a:rPr lang="de-DE" sz="1800" kern="1200" noProof="0" dirty="0"/>
            <a:t>von Netzanschlüssen bei </a:t>
          </a:r>
          <a:r>
            <a:rPr lang="de-DE" sz="1800" kern="1200" noProof="0" dirty="0" err="1"/>
            <a:t>co-located</a:t>
          </a:r>
          <a:r>
            <a:rPr lang="de-DE" sz="1800" kern="1200" noProof="0" dirty="0"/>
            <a:t> Anlagenkombination (PV/Wind und Batteriespeicher) </a:t>
          </a:r>
        </a:p>
      </dsp:txBody>
      <dsp:txXfrm>
        <a:off x="3778249" y="2727994"/>
        <a:ext cx="13795002" cy="509719"/>
      </dsp:txXfrm>
    </dsp:sp>
    <dsp:sp modelId="{C908F888-1CC5-4B09-BDDE-87AB7215C344}">
      <dsp:nvSpPr>
        <dsp:cNvPr id="0" name=""/>
        <dsp:cNvSpPr/>
      </dsp:nvSpPr>
      <dsp:spPr>
        <a:xfrm>
          <a:off x="3514650" y="3237713"/>
          <a:ext cx="140586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EC5B28-1869-4F59-A513-B677CB54BC53}">
      <dsp:nvSpPr>
        <dsp:cNvPr id="0" name=""/>
        <dsp:cNvSpPr/>
      </dsp:nvSpPr>
      <dsp:spPr>
        <a:xfrm>
          <a:off x="0" y="3263199"/>
          <a:ext cx="1757325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B7D92F-2FEE-4B91-BEE6-143F77145A9A}">
      <dsp:nvSpPr>
        <dsp:cNvPr id="0" name=""/>
        <dsp:cNvSpPr/>
      </dsp:nvSpPr>
      <dsp:spPr>
        <a:xfrm>
          <a:off x="0" y="3263199"/>
          <a:ext cx="3514650" cy="1631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82563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1" kern="1200" noProof="0" dirty="0"/>
            <a:t>Baukostenzuschuss</a:t>
          </a:r>
        </a:p>
      </dsp:txBody>
      <dsp:txXfrm>
        <a:off x="0" y="3263199"/>
        <a:ext cx="3514650" cy="1631102"/>
      </dsp:txXfrm>
    </dsp:sp>
    <dsp:sp modelId="{6DED169E-AAC4-420E-A02A-65B9A2EADCC3}">
      <dsp:nvSpPr>
        <dsp:cNvPr id="0" name=""/>
        <dsp:cNvSpPr/>
      </dsp:nvSpPr>
      <dsp:spPr>
        <a:xfrm>
          <a:off x="3778249" y="3301110"/>
          <a:ext cx="13795002" cy="7582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360363" lvl="0" indent="-1841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kern="1200" noProof="0" dirty="0"/>
            <a:t>Unabhängig von BGH-Entscheidung: Keine einheitliche Praxis der Netzbetreiber für BESS &gt; 100 MW auf Hochspannungsebene</a:t>
          </a:r>
        </a:p>
      </dsp:txBody>
      <dsp:txXfrm>
        <a:off x="3778249" y="3301110"/>
        <a:ext cx="13795002" cy="758207"/>
      </dsp:txXfrm>
    </dsp:sp>
    <dsp:sp modelId="{B9FCF0C5-5AAB-462F-80A8-F23D237F87BD}">
      <dsp:nvSpPr>
        <dsp:cNvPr id="0" name=""/>
        <dsp:cNvSpPr/>
      </dsp:nvSpPr>
      <dsp:spPr>
        <a:xfrm>
          <a:off x="3514650" y="4059317"/>
          <a:ext cx="140586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553085-D284-493B-B93D-6A80701F7405}">
      <dsp:nvSpPr>
        <dsp:cNvPr id="0" name=""/>
        <dsp:cNvSpPr/>
      </dsp:nvSpPr>
      <dsp:spPr>
        <a:xfrm>
          <a:off x="3778249" y="4097228"/>
          <a:ext cx="13795002" cy="7582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360363" lvl="0" indent="-1841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kern="1200" noProof="0" dirty="0"/>
            <a:t>Zuständigkeit für Neufestlegung bei BNetzA, jedoch gesetzlich verankerte Frist zur Festlegung denkbar</a:t>
          </a:r>
        </a:p>
      </dsp:txBody>
      <dsp:txXfrm>
        <a:off x="3778249" y="4097228"/>
        <a:ext cx="13795002" cy="758207"/>
      </dsp:txXfrm>
    </dsp:sp>
    <dsp:sp modelId="{A704B2C1-DF6C-4816-A213-9D8B5EDDB908}">
      <dsp:nvSpPr>
        <dsp:cNvPr id="0" name=""/>
        <dsp:cNvSpPr/>
      </dsp:nvSpPr>
      <dsp:spPr>
        <a:xfrm>
          <a:off x="3443373" y="4868266"/>
          <a:ext cx="140586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9298E3E-D657-4B10-A572-4365FADE27FC}">
      <dsp:nvSpPr>
        <dsp:cNvPr id="0" name=""/>
        <dsp:cNvSpPr/>
      </dsp:nvSpPr>
      <dsp:spPr>
        <a:xfrm>
          <a:off x="0" y="4894302"/>
          <a:ext cx="1757325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E088ED-BE0E-4CFB-A13C-E3C883407970}">
      <dsp:nvSpPr>
        <dsp:cNvPr id="0" name=""/>
        <dsp:cNvSpPr/>
      </dsp:nvSpPr>
      <dsp:spPr>
        <a:xfrm>
          <a:off x="0" y="4894302"/>
          <a:ext cx="3473463" cy="1631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82563" lvl="0" indent="-63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b="1" kern="1200" noProof="0" dirty="0"/>
            <a:t>Privilegierung im Außenbereich</a:t>
          </a:r>
        </a:p>
      </dsp:txBody>
      <dsp:txXfrm>
        <a:off x="0" y="4894302"/>
        <a:ext cx="3473463" cy="1631102"/>
      </dsp:txXfrm>
    </dsp:sp>
    <dsp:sp modelId="{86085629-6911-4143-AD27-9C3CE314D1CF}">
      <dsp:nvSpPr>
        <dsp:cNvPr id="0" name=""/>
        <dsp:cNvSpPr/>
      </dsp:nvSpPr>
      <dsp:spPr>
        <a:xfrm>
          <a:off x="3733972" y="4946027"/>
          <a:ext cx="13825845" cy="5459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360363" lvl="0" indent="-1841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kern="1200" noProof="0" dirty="0"/>
            <a:t>Genehmigungsbehörden subsummieren Batteriespeicher mehrheitlich unter § 35 Abs. 1 Nr. 3 BauGB</a:t>
          </a:r>
        </a:p>
      </dsp:txBody>
      <dsp:txXfrm>
        <a:off x="3733972" y="4946027"/>
        <a:ext cx="13825845" cy="545931"/>
      </dsp:txXfrm>
    </dsp:sp>
    <dsp:sp modelId="{E51E992F-30E2-41BB-967A-4E9202DD8598}">
      <dsp:nvSpPr>
        <dsp:cNvPr id="0" name=""/>
        <dsp:cNvSpPr/>
      </dsp:nvSpPr>
      <dsp:spPr>
        <a:xfrm>
          <a:off x="3473463" y="5493611"/>
          <a:ext cx="1389385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447E30-8F7F-44EB-B6A9-DBAE5DFA79E8}">
      <dsp:nvSpPr>
        <dsp:cNvPr id="0" name=""/>
        <dsp:cNvSpPr/>
      </dsp:nvSpPr>
      <dsp:spPr>
        <a:xfrm>
          <a:off x="3733972" y="5489452"/>
          <a:ext cx="13633342" cy="4921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360363" lvl="0" indent="-1841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kern="1200" noProof="0" dirty="0"/>
            <a:t>Dennoch Rechtsunsicherheit hinsichtlich des Merkmals der Ortgebundenheit, § 11c EnWG enthält „lediglich“ Abwägungsvorrang</a:t>
          </a:r>
        </a:p>
      </dsp:txBody>
      <dsp:txXfrm>
        <a:off x="3733972" y="5489452"/>
        <a:ext cx="13633342" cy="492197"/>
      </dsp:txXfrm>
    </dsp:sp>
    <dsp:sp modelId="{A241177B-0740-40A5-A0C2-04B0E97DAC4E}">
      <dsp:nvSpPr>
        <dsp:cNvPr id="0" name=""/>
        <dsp:cNvSpPr/>
      </dsp:nvSpPr>
      <dsp:spPr>
        <a:xfrm>
          <a:off x="3473463" y="5981650"/>
          <a:ext cx="1389385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5F8C24-F9FA-44EC-9466-C6DB3339F584}">
      <dsp:nvSpPr>
        <dsp:cNvPr id="0" name=""/>
        <dsp:cNvSpPr/>
      </dsp:nvSpPr>
      <dsp:spPr>
        <a:xfrm>
          <a:off x="3733972" y="6006260"/>
          <a:ext cx="13633342" cy="4921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360363" lvl="0" indent="-1841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kern="1200" noProof="0"/>
            <a:t>Klarstellung </a:t>
          </a:r>
          <a:r>
            <a:rPr lang="de-DE" sz="1800" kern="1200" noProof="0" dirty="0"/>
            <a:t>wünschenswert  </a:t>
          </a:r>
        </a:p>
      </dsp:txBody>
      <dsp:txXfrm>
        <a:off x="3733972" y="6006260"/>
        <a:ext cx="13633342" cy="492197"/>
      </dsp:txXfrm>
    </dsp:sp>
    <dsp:sp modelId="{8E9882F2-8288-422E-8EF6-8AD2E97E4266}">
      <dsp:nvSpPr>
        <dsp:cNvPr id="0" name=""/>
        <dsp:cNvSpPr/>
      </dsp:nvSpPr>
      <dsp:spPr>
        <a:xfrm>
          <a:off x="3473463" y="6498458"/>
          <a:ext cx="1389385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B21148-EE40-44AD-B4CD-1CC879E894C0}">
      <dsp:nvSpPr>
        <dsp:cNvPr id="0" name=""/>
        <dsp:cNvSpPr/>
      </dsp:nvSpPr>
      <dsp:spPr>
        <a:xfrm>
          <a:off x="0" y="6525404"/>
          <a:ext cx="1757325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4ECB59-AB78-469B-99E5-8126F406BC32}">
      <dsp:nvSpPr>
        <dsp:cNvPr id="0" name=""/>
        <dsp:cNvSpPr/>
      </dsp:nvSpPr>
      <dsp:spPr>
        <a:xfrm>
          <a:off x="0" y="6525404"/>
          <a:ext cx="3514650" cy="1631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82563" lvl="0" indent="-63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b="1" kern="1200" noProof="0" dirty="0"/>
            <a:t>Ausschließlichkeits-</a:t>
          </a:r>
        </a:p>
        <a:p>
          <a:pPr marL="182563" lvl="0" indent="-63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b="1" kern="1200" noProof="0" dirty="0" err="1"/>
            <a:t>prinzip</a:t>
          </a:r>
          <a:endParaRPr lang="de-DE" sz="1800" b="1" kern="1200" noProof="0" dirty="0"/>
        </a:p>
      </dsp:txBody>
      <dsp:txXfrm>
        <a:off x="0" y="6525404"/>
        <a:ext cx="3514650" cy="1631102"/>
      </dsp:txXfrm>
    </dsp:sp>
    <dsp:sp modelId="{1072DA3F-492D-4491-AF46-934393AFD184}">
      <dsp:nvSpPr>
        <dsp:cNvPr id="0" name=""/>
        <dsp:cNvSpPr/>
      </dsp:nvSpPr>
      <dsp:spPr>
        <a:xfrm>
          <a:off x="3778249" y="6550890"/>
          <a:ext cx="13795002" cy="5097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360363" lvl="0" indent="-1841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kern="1200" noProof="0" dirty="0"/>
            <a:t>Adressiert im Solarpaket I </a:t>
          </a:r>
        </a:p>
      </dsp:txBody>
      <dsp:txXfrm>
        <a:off x="3778249" y="6550890"/>
        <a:ext cx="13795002" cy="509719"/>
      </dsp:txXfrm>
    </dsp:sp>
    <dsp:sp modelId="{876274E7-E74D-4AED-8A02-EE0C7189D1D9}">
      <dsp:nvSpPr>
        <dsp:cNvPr id="0" name=""/>
        <dsp:cNvSpPr/>
      </dsp:nvSpPr>
      <dsp:spPr>
        <a:xfrm>
          <a:off x="3514650" y="7060609"/>
          <a:ext cx="140586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120C87-B50B-40C5-BE1A-205D6BB98D85}">
      <dsp:nvSpPr>
        <dsp:cNvPr id="0" name=""/>
        <dsp:cNvSpPr/>
      </dsp:nvSpPr>
      <dsp:spPr>
        <a:xfrm>
          <a:off x="3778249" y="7086095"/>
          <a:ext cx="13795002" cy="5097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360363" lvl="0" indent="-1841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kern="1200" noProof="0" dirty="0"/>
            <a:t>Wünschenswert, dass Frist BNetzA nicht bis Juni 2026 ausschöpft</a:t>
          </a:r>
        </a:p>
      </dsp:txBody>
      <dsp:txXfrm>
        <a:off x="3778249" y="7086095"/>
        <a:ext cx="13795002" cy="509719"/>
      </dsp:txXfrm>
    </dsp:sp>
    <dsp:sp modelId="{3FA5D2C5-097A-4E48-B49F-0CF01A12ED97}">
      <dsp:nvSpPr>
        <dsp:cNvPr id="0" name=""/>
        <dsp:cNvSpPr/>
      </dsp:nvSpPr>
      <dsp:spPr>
        <a:xfrm>
          <a:off x="3514650" y="7595814"/>
          <a:ext cx="140586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3399154-D278-4827-8724-F730EB1D3661}">
      <dsp:nvSpPr>
        <dsp:cNvPr id="0" name=""/>
        <dsp:cNvSpPr/>
      </dsp:nvSpPr>
      <dsp:spPr>
        <a:xfrm>
          <a:off x="3778249" y="7621300"/>
          <a:ext cx="13795002" cy="5097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360363" lvl="0" indent="-1841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Font typeface="Wingdings" panose="05000000000000000000" pitchFamily="2" charset="2"/>
            <a:buNone/>
          </a:pPr>
          <a:r>
            <a:rPr lang="de-DE" sz="1800" kern="1200" noProof="0" dirty="0"/>
            <a:t>Klarstellung erforderlich, dass bestehende Konzepte (Energieflussrichtungssensoren) vor BNetzA-Festlegung zulässig bleiben </a:t>
          </a:r>
        </a:p>
      </dsp:txBody>
      <dsp:txXfrm>
        <a:off x="3778249" y="7621300"/>
        <a:ext cx="13795002" cy="509719"/>
      </dsp:txXfrm>
    </dsp:sp>
    <dsp:sp modelId="{6DD76EEE-4A00-4FED-AB16-D07C2C032835}">
      <dsp:nvSpPr>
        <dsp:cNvPr id="0" name=""/>
        <dsp:cNvSpPr/>
      </dsp:nvSpPr>
      <dsp:spPr>
        <a:xfrm>
          <a:off x="3514650" y="8131020"/>
          <a:ext cx="14058601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435214" cy="356001"/>
          </a:xfrm>
          <a:prstGeom prst="rect">
            <a:avLst/>
          </a:prstGeom>
        </p:spPr>
        <p:txBody>
          <a:bodyPr vert="horz" lIns="50466" tIns="25233" rIns="50466" bIns="25233" rtlCol="0"/>
          <a:lstStyle>
            <a:lvl1pPr algn="l">
              <a:defRPr sz="7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796975" y="0"/>
            <a:ext cx="4435214" cy="356001"/>
          </a:xfrm>
          <a:prstGeom prst="rect">
            <a:avLst/>
          </a:prstGeom>
        </p:spPr>
        <p:txBody>
          <a:bodyPr vert="horz" lIns="50466" tIns="25233" rIns="50466" bIns="25233" rtlCol="0"/>
          <a:lstStyle>
            <a:lvl1pPr algn="r">
              <a:defRPr sz="700"/>
            </a:lvl1pPr>
          </a:lstStyle>
          <a:p>
            <a:fld id="{C3797CD7-9DBA-2742-AC5D-DEAE4D276D12}" type="datetimeFigureOut">
              <a:rPr lang="de-DE" smtClean="0"/>
              <a:t>14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87675" y="889000"/>
            <a:ext cx="4259263" cy="239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50466" tIns="25233" rIns="50466" bIns="2523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023138" y="3418407"/>
            <a:ext cx="8188337" cy="2798147"/>
          </a:xfrm>
          <a:prstGeom prst="rect">
            <a:avLst/>
          </a:prstGeom>
        </p:spPr>
        <p:txBody>
          <a:bodyPr vert="horz" lIns="50466" tIns="25233" rIns="50466" bIns="2523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748063"/>
            <a:ext cx="4435214" cy="356001"/>
          </a:xfrm>
          <a:prstGeom prst="rect">
            <a:avLst/>
          </a:prstGeom>
        </p:spPr>
        <p:txBody>
          <a:bodyPr vert="horz" lIns="50466" tIns="25233" rIns="50466" bIns="25233" rtlCol="0" anchor="b"/>
          <a:lstStyle>
            <a:lvl1pPr algn="l">
              <a:defRPr sz="7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796975" y="6748063"/>
            <a:ext cx="4435214" cy="356001"/>
          </a:xfrm>
          <a:prstGeom prst="rect">
            <a:avLst/>
          </a:prstGeom>
        </p:spPr>
        <p:txBody>
          <a:bodyPr vert="horz" lIns="50466" tIns="25233" rIns="50466" bIns="25233" rtlCol="0" anchor="b"/>
          <a:lstStyle>
            <a:lvl1pPr algn="r">
              <a:defRPr sz="700"/>
            </a:lvl1pPr>
          </a:lstStyle>
          <a:p>
            <a:fld id="{607408BC-D3E0-AB4C-AA4B-1E1C91B2560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3707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8.jpg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9.png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10.jp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5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slideMaster" Target="../slideMasters/slideMaster3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3" Type="http://schemas.openxmlformats.org/officeDocument/2006/relationships/tags" Target="../tags/tag48.xml"/><Relationship Id="rId21" Type="http://schemas.openxmlformats.org/officeDocument/2006/relationships/tags" Target="../tags/tag66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tags" Target="../tags/tag65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slideMaster" Target="../slideMasters/slideMaster3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tags" Target="../tags/tag68.xml"/><Relationship Id="rId10" Type="http://schemas.openxmlformats.org/officeDocument/2006/relationships/tags" Target="../tags/tag55.xml"/><Relationship Id="rId19" Type="http://schemas.openxmlformats.org/officeDocument/2006/relationships/tags" Target="../tags/tag64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tags" Target="../tags/tag67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10" Type="http://schemas.openxmlformats.org/officeDocument/2006/relationships/tags" Target="../tags/tag78.xml"/><Relationship Id="rId19" Type="http://schemas.openxmlformats.org/officeDocument/2006/relationships/slideMaster" Target="../slideMasters/slideMaster3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tags" Target="../tags/tag10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5" Type="http://schemas.openxmlformats.org/officeDocument/2006/relationships/tags" Target="../tags/tag94.xml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5.xml"/><Relationship Id="rId1" Type="http://schemas.openxmlformats.org/officeDocument/2006/relationships/tags" Target="../tags/tag10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8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9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6.xml"/><Relationship Id="rId1" Type="http://schemas.openxmlformats.org/officeDocument/2006/relationships/tags" Target="../tags/tag11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8.xml"/><Relationship Id="rId1" Type="http://schemas.openxmlformats.org/officeDocument/2006/relationships/tags" Target="../tags/tag11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2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6.xml"/><Relationship Id="rId1" Type="http://schemas.openxmlformats.org/officeDocument/2006/relationships/tags" Target="../tags/tag12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9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1.xml"/><Relationship Id="rId1" Type="http://schemas.openxmlformats.org/officeDocument/2006/relationships/tags" Target="../tags/tag130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5" Type="http://schemas.openxmlformats.org/officeDocument/2006/relationships/tags" Target="../tags/tag141.xml"/><Relationship Id="rId4" Type="http://schemas.openxmlformats.org/officeDocument/2006/relationships/tags" Target="../tags/tag140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4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4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159.xml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tags" Target="../tags/tag157.xml"/><Relationship Id="rId11" Type="http://schemas.openxmlformats.org/officeDocument/2006/relationships/tags" Target="../tags/tag162.xml"/><Relationship Id="rId5" Type="http://schemas.openxmlformats.org/officeDocument/2006/relationships/tags" Target="../tags/tag156.xml"/><Relationship Id="rId10" Type="http://schemas.openxmlformats.org/officeDocument/2006/relationships/tags" Target="../tags/tag161.xml"/><Relationship Id="rId4" Type="http://schemas.openxmlformats.org/officeDocument/2006/relationships/tags" Target="../tags/tag155.xml"/><Relationship Id="rId9" Type="http://schemas.openxmlformats.org/officeDocument/2006/relationships/tags" Target="../tags/tag160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4.xml"/><Relationship Id="rId1" Type="http://schemas.openxmlformats.org/officeDocument/2006/relationships/tags" Target="../tags/tag16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6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7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7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0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188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12" Type="http://schemas.openxmlformats.org/officeDocument/2006/relationships/tags" Target="../tags/tag192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11" Type="http://schemas.openxmlformats.org/officeDocument/2006/relationships/tags" Target="../tags/tag191.xml"/><Relationship Id="rId5" Type="http://schemas.openxmlformats.org/officeDocument/2006/relationships/tags" Target="../tags/tag185.xml"/><Relationship Id="rId10" Type="http://schemas.openxmlformats.org/officeDocument/2006/relationships/tags" Target="../tags/tag190.xml"/><Relationship Id="rId4" Type="http://schemas.openxmlformats.org/officeDocument/2006/relationships/tags" Target="../tags/tag184.xml"/><Relationship Id="rId9" Type="http://schemas.openxmlformats.org/officeDocument/2006/relationships/tags" Target="../tags/tag18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4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5" Type="http://schemas.openxmlformats.org/officeDocument/2006/relationships/tags" Target="../tags/tag200.xml"/><Relationship Id="rId4" Type="http://schemas.openxmlformats.org/officeDocument/2006/relationships/tags" Target="../tags/tag199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2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tags" Target="../tags/tag215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17" Type="http://schemas.openxmlformats.org/officeDocument/2006/relationships/slideMaster" Target="../slideMasters/slideMaster3.xml"/><Relationship Id="rId2" Type="http://schemas.openxmlformats.org/officeDocument/2006/relationships/tags" Target="../tags/tag204.xml"/><Relationship Id="rId16" Type="http://schemas.openxmlformats.org/officeDocument/2006/relationships/tags" Target="../tags/tag218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5" Type="http://schemas.openxmlformats.org/officeDocument/2006/relationships/tags" Target="../tags/tag21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tags" Target="../tags/tag21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6.jpg"/><Relationship Id="rId4" Type="http://schemas.openxmlformats.org/officeDocument/2006/relationships/image" Target="../media/image4.emf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4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4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3.xml"/><Relationship Id="rId1" Type="http://schemas.openxmlformats.org/officeDocument/2006/relationships/tags" Target="../tags/tag23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7.jpg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0504392" cy="11308556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197679" y="1659304"/>
            <a:ext cx="8109584" cy="3229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100" b="1" i="0">
                <a:solidFill>
                  <a:srgbClr val="96E3D6"/>
                </a:solidFill>
                <a:latin typeface="Quicksand-SemiBold"/>
                <a:cs typeface="Quicksand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478811" y="6178290"/>
            <a:ext cx="7546340" cy="22872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850" b="0" i="0">
                <a:solidFill>
                  <a:schemeClr val="bg1"/>
                </a:solidFill>
                <a:latin typeface="Quicksand"/>
                <a:cs typeface="Quicksand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5BB1549-5A03-FB21-E552-4554C919D1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92951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5BB1549-5A03-FB21-E552-4554C919D1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object 2">
            <a:extLst>
              <a:ext uri="{FF2B5EF4-FFF2-40B4-BE49-F238E27FC236}">
                <a16:creationId xmlns:a16="http://schemas.microsoft.com/office/drawing/2014/main" id="{B444F880-A1FD-523F-43E0-2A046DC421F5}"/>
              </a:ext>
            </a:extLst>
          </p:cNvPr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" y="1"/>
            <a:ext cx="20104098" cy="1130855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06631" y="510845"/>
            <a:ext cx="6690358" cy="630838"/>
          </a:xfrm>
        </p:spPr>
        <p:txBody>
          <a:bodyPr lIns="0" tIns="0" rIns="0" bIns="0"/>
          <a:lstStyle>
            <a:lvl1pPr>
              <a:defRPr sz="4099" b="1" i="0">
                <a:solidFill>
                  <a:srgbClr val="96E3D6"/>
                </a:solidFill>
                <a:latin typeface="Quicksand-SemiBold"/>
                <a:cs typeface="Quicksand-SemiBold"/>
              </a:defRPr>
            </a:lvl1pPr>
          </a:lstStyle>
          <a:p>
            <a:endParaRPr/>
          </a:p>
        </p:txBody>
      </p:sp>
      <p:sp>
        <p:nvSpPr>
          <p:cNvPr id="9" name="bg object 17">
            <a:extLst>
              <a:ext uri="{FF2B5EF4-FFF2-40B4-BE49-F238E27FC236}">
                <a16:creationId xmlns:a16="http://schemas.microsoft.com/office/drawing/2014/main" id="{9B8D9CD7-4CD4-1453-0E03-D834ED1A456B}"/>
              </a:ext>
            </a:extLst>
          </p:cNvPr>
          <p:cNvSpPr/>
          <p:nvPr userDrawn="1"/>
        </p:nvSpPr>
        <p:spPr>
          <a:xfrm>
            <a:off x="837670" y="523545"/>
            <a:ext cx="157480" cy="1151890"/>
          </a:xfrm>
          <a:custGeom>
            <a:avLst/>
            <a:gdLst/>
            <a:ahLst/>
            <a:cxnLst/>
            <a:rect l="l" t="t" r="r" b="b"/>
            <a:pathLst>
              <a:path w="157480" h="1151889">
                <a:moveTo>
                  <a:pt x="0" y="1151797"/>
                </a:moveTo>
                <a:lnTo>
                  <a:pt x="157063" y="1151797"/>
                </a:lnTo>
                <a:lnTo>
                  <a:pt x="157063" y="0"/>
                </a:lnTo>
                <a:lnTo>
                  <a:pt x="0" y="0"/>
                </a:lnTo>
                <a:lnTo>
                  <a:pt x="0" y="1151797"/>
                </a:lnTo>
                <a:close/>
              </a:path>
            </a:pathLst>
          </a:custGeom>
          <a:solidFill>
            <a:srgbClr val="96E3D6"/>
          </a:solidFill>
        </p:spPr>
        <p:txBody>
          <a:bodyPr wrap="square" lIns="0" tIns="0" rIns="0" bIns="0" rtlCol="0"/>
          <a:lstStyle/>
          <a:p>
            <a:endParaRPr sz="1801"/>
          </a:p>
        </p:txBody>
      </p:sp>
    </p:spTree>
    <p:extLst>
      <p:ext uri="{BB962C8B-B14F-4D97-AF65-F5344CB8AC3E}">
        <p14:creationId xmlns:p14="http://schemas.microsoft.com/office/powerpoint/2010/main" val="4280712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" y="1"/>
            <a:ext cx="20104088" cy="11308557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837670" y="523545"/>
            <a:ext cx="157480" cy="1151890"/>
          </a:xfrm>
          <a:custGeom>
            <a:avLst/>
            <a:gdLst/>
            <a:ahLst/>
            <a:cxnLst/>
            <a:rect l="l" t="t" r="r" b="b"/>
            <a:pathLst>
              <a:path w="157480" h="1151889">
                <a:moveTo>
                  <a:pt x="0" y="1151797"/>
                </a:moveTo>
                <a:lnTo>
                  <a:pt x="157063" y="1151797"/>
                </a:lnTo>
                <a:lnTo>
                  <a:pt x="157063" y="0"/>
                </a:lnTo>
                <a:lnTo>
                  <a:pt x="0" y="0"/>
                </a:lnTo>
                <a:lnTo>
                  <a:pt x="0" y="1151797"/>
                </a:lnTo>
                <a:close/>
              </a:path>
            </a:pathLst>
          </a:custGeom>
          <a:solidFill>
            <a:srgbClr val="96E3D6"/>
          </a:solidFill>
        </p:spPr>
        <p:txBody>
          <a:bodyPr wrap="square" lIns="0" tIns="0" rIns="0" bIns="0" rtlCol="0"/>
          <a:lstStyle/>
          <a:p>
            <a:endParaRPr sz="1801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06631" y="510845"/>
            <a:ext cx="6690358" cy="630838"/>
          </a:xfrm>
        </p:spPr>
        <p:txBody>
          <a:bodyPr lIns="0" tIns="0" rIns="0" bIns="0"/>
          <a:lstStyle>
            <a:lvl1pPr>
              <a:defRPr sz="4099" b="1" i="0">
                <a:solidFill>
                  <a:srgbClr val="96E3D6"/>
                </a:solidFill>
                <a:latin typeface="Quicksand-SemiBold"/>
                <a:cs typeface="Quicksand-SemiBold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807342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CD22D1E-10D5-6AC4-BC5F-D687D205B3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492680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CD22D1E-10D5-6AC4-BC5F-D687D205B3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ject 2">
            <a:extLst>
              <a:ext uri="{FF2B5EF4-FFF2-40B4-BE49-F238E27FC236}">
                <a16:creationId xmlns:a16="http://schemas.microsoft.com/office/drawing/2014/main" id="{2CF34D1F-2EC7-E278-F4E8-4061E1963C1C}"/>
              </a:ext>
            </a:extLst>
          </p:cNvPr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" r="606"/>
          <a:stretch/>
        </p:blipFill>
        <p:spPr>
          <a:xfrm>
            <a:off x="1" y="-70771"/>
            <a:ext cx="20104102" cy="11450098"/>
          </a:xfrm>
          <a:prstGeom prst="rect">
            <a:avLst/>
          </a:prstGeom>
        </p:spPr>
      </p:pic>
      <p:sp>
        <p:nvSpPr>
          <p:cNvPr id="9" name="bg object 17">
            <a:extLst>
              <a:ext uri="{FF2B5EF4-FFF2-40B4-BE49-F238E27FC236}">
                <a16:creationId xmlns:a16="http://schemas.microsoft.com/office/drawing/2014/main" id="{CA806DCD-7CF9-9D13-72DA-617195A250A3}"/>
              </a:ext>
            </a:extLst>
          </p:cNvPr>
          <p:cNvSpPr/>
          <p:nvPr userDrawn="1"/>
        </p:nvSpPr>
        <p:spPr>
          <a:xfrm>
            <a:off x="837670" y="523545"/>
            <a:ext cx="157480" cy="1151890"/>
          </a:xfrm>
          <a:custGeom>
            <a:avLst/>
            <a:gdLst/>
            <a:ahLst/>
            <a:cxnLst/>
            <a:rect l="l" t="t" r="r" b="b"/>
            <a:pathLst>
              <a:path w="157480" h="1151889">
                <a:moveTo>
                  <a:pt x="0" y="1151797"/>
                </a:moveTo>
                <a:lnTo>
                  <a:pt x="157063" y="1151797"/>
                </a:lnTo>
                <a:lnTo>
                  <a:pt x="157063" y="0"/>
                </a:lnTo>
                <a:lnTo>
                  <a:pt x="0" y="0"/>
                </a:lnTo>
                <a:lnTo>
                  <a:pt x="0" y="1151797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</p:spPr>
        <p:txBody>
          <a:bodyPr wrap="square" lIns="0" tIns="0" rIns="0" bIns="0" rtlCol="0"/>
          <a:lstStyle/>
          <a:p>
            <a:endParaRPr sz="1801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1F2A501-EA5F-3321-2C36-17AE197233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6631" y="510844"/>
            <a:ext cx="6690358" cy="630942"/>
          </a:xfrm>
        </p:spPr>
        <p:txBody>
          <a:bodyPr vert="horz"/>
          <a:lstStyle>
            <a:lvl1pPr>
              <a:defRPr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7877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2D2E0DE-F91A-D5F4-ADA5-A254C219FD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097516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2D2E0DE-F91A-D5F4-ADA5-A254C219FD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4">
            <a:extLst>
              <a:ext uri="{FF2B5EF4-FFF2-40B4-BE49-F238E27FC236}">
                <a16:creationId xmlns:a16="http://schemas.microsoft.com/office/drawing/2014/main" id="{03E415BE-8DC8-DC13-7698-9FBD175058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785"/>
          <a:stretch/>
        </p:blipFill>
        <p:spPr>
          <a:xfrm>
            <a:off x="0" y="398"/>
            <a:ext cx="20104100" cy="11308953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5A95639-C555-C8BE-4137-31846485F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6631" y="510844"/>
            <a:ext cx="6690358" cy="630942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bg object 17">
            <a:extLst>
              <a:ext uri="{FF2B5EF4-FFF2-40B4-BE49-F238E27FC236}">
                <a16:creationId xmlns:a16="http://schemas.microsoft.com/office/drawing/2014/main" id="{196CF8E6-85AC-67BD-62E2-1623B3155BD0}"/>
              </a:ext>
            </a:extLst>
          </p:cNvPr>
          <p:cNvSpPr/>
          <p:nvPr userDrawn="1"/>
        </p:nvSpPr>
        <p:spPr>
          <a:xfrm>
            <a:off x="837670" y="523545"/>
            <a:ext cx="157480" cy="1151890"/>
          </a:xfrm>
          <a:custGeom>
            <a:avLst/>
            <a:gdLst/>
            <a:ahLst/>
            <a:cxnLst/>
            <a:rect l="l" t="t" r="r" b="b"/>
            <a:pathLst>
              <a:path w="157480" h="1151889">
                <a:moveTo>
                  <a:pt x="0" y="1151797"/>
                </a:moveTo>
                <a:lnTo>
                  <a:pt x="157063" y="1151797"/>
                </a:lnTo>
                <a:lnTo>
                  <a:pt x="157063" y="0"/>
                </a:lnTo>
                <a:lnTo>
                  <a:pt x="0" y="0"/>
                </a:lnTo>
                <a:lnTo>
                  <a:pt x="0" y="1151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sz="1801"/>
          </a:p>
        </p:txBody>
      </p:sp>
    </p:spTree>
    <p:extLst>
      <p:ext uri="{BB962C8B-B14F-4D97-AF65-F5344CB8AC3E}">
        <p14:creationId xmlns:p14="http://schemas.microsoft.com/office/powerpoint/2010/main" val="65357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33ED30E-2EA6-23C4-9FBD-99D04C5862C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0"/>
            <a:ext cx="20130835" cy="11309350"/>
          </a:xfrm>
          <a:prstGeom prst="rect">
            <a:avLst/>
          </a:prstGeom>
        </p:spPr>
      </p:pic>
      <p:sp>
        <p:nvSpPr>
          <p:cNvPr id="5" name="Text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711634" y="2853865"/>
            <a:ext cx="5936250" cy="406037"/>
          </a:xfrm>
        </p:spPr>
        <p:txBody>
          <a:bodyPr wrap="square">
            <a:spAutoFit/>
          </a:bodyPr>
          <a:lstStyle>
            <a:lvl1pPr>
              <a:defRPr sz="2638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711634" y="2017269"/>
            <a:ext cx="11575688" cy="558301"/>
          </a:xfrm>
        </p:spPr>
        <p:txBody>
          <a:bodyPr wrap="square">
            <a:spAutoFit/>
          </a:bodyPr>
          <a:lstStyle>
            <a:lvl1pPr marL="0" indent="0" algn="l">
              <a:buNone/>
              <a:defRPr sz="3628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95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91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087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783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479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175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871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567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711634" y="1241783"/>
            <a:ext cx="11575688" cy="710565"/>
          </a:xfrm>
        </p:spPr>
        <p:txBody>
          <a:bodyPr wrap="square">
            <a:spAutoFit/>
          </a:bodyPr>
          <a:lstStyle>
            <a:lvl1pPr algn="l">
              <a:defRPr sz="4617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990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 Image" descr="Record">
            <a:extLst>
              <a:ext uri="{FF2B5EF4-FFF2-40B4-BE49-F238E27FC236}">
                <a16:creationId xmlns:a16="http://schemas.microsoft.com/office/drawing/2014/main" id="{3486E6EB-FC17-4105-80D9-153A7A54BAD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0" cy="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5"/>
            <p:custDataLst>
              <p:tags r:id="rId2"/>
            </p:custDataLst>
          </p:nvPr>
        </p:nvSpPr>
        <p:spPr>
          <a:xfrm>
            <a:off x="724223" y="1056727"/>
            <a:ext cx="18639825" cy="1525723"/>
          </a:xfrm>
        </p:spPr>
        <p:txBody>
          <a:bodyPr/>
          <a:lstStyle>
            <a:lvl1pPr>
              <a:defRPr sz="7915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24223" y="4052517"/>
            <a:ext cx="6529875" cy="2967743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484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391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">
            <a:extLst>
              <a:ext uri="{FF2B5EF4-FFF2-40B4-BE49-F238E27FC236}">
                <a16:creationId xmlns:a16="http://schemas.microsoft.com/office/drawing/2014/main" id="{C8036DB1-9ED1-4D40-B9AB-49A40910F921}"/>
              </a:ext>
            </a:extLst>
          </p:cNvPr>
          <p:cNvSpPr>
            <a:spLocks noGrp="1"/>
          </p:cNvSpPr>
          <p:nvPr>
            <p:ph type="pic" sz="quarter" idx="11"/>
            <p:custDataLst>
              <p:tags r:id="rId1"/>
            </p:custDataLst>
          </p:nvPr>
        </p:nvSpPr>
        <p:spPr>
          <a:xfrm>
            <a:off x="6820" y="4399"/>
            <a:ext cx="20097280" cy="11304932"/>
          </a:xfrm>
        </p:spPr>
        <p:txBody>
          <a:bodyPr/>
          <a:lstStyle>
            <a:lvl1pPr>
              <a:defRPr sz="2309" b="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Message">
            <a:extLst>
              <a:ext uri="{FF2B5EF4-FFF2-40B4-BE49-F238E27FC236}">
                <a16:creationId xmlns:a16="http://schemas.microsoft.com/office/drawing/2014/main" id="{9428723D-18D6-4616-91E7-04E0E992894A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 bwMode="white">
          <a:xfrm>
            <a:off x="725110" y="1443129"/>
            <a:ext cx="12769245" cy="3958238"/>
          </a:xfrm>
        </p:spPr>
        <p:txBody>
          <a:bodyPr/>
          <a:lstStyle>
            <a:lvl1pPr algn="l">
              <a:defRPr sz="7915" b="1">
                <a:solidFill>
                  <a:schemeClr val="bg1"/>
                </a:solidFill>
              </a:defRPr>
            </a:lvl1pPr>
            <a:lvl2pPr algn="l">
              <a:defRPr sz="5936">
                <a:solidFill>
                  <a:schemeClr val="bg1"/>
                </a:solidFill>
              </a:defRPr>
            </a:lvl2pPr>
            <a:lvl3pPr algn="l">
              <a:defRPr sz="3958" b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Thank</a:t>
            </a:r>
            <a:r>
              <a:rPr lang="en-US" dirty="0"/>
              <a:t> you&gt;&gt;</a:t>
            </a:r>
          </a:p>
        </p:txBody>
      </p:sp>
      <p:sp>
        <p:nvSpPr>
          <p:cNvPr id="6" name="Dots Bottom">
            <a:extLst>
              <a:ext uri="{FF2B5EF4-FFF2-40B4-BE49-F238E27FC236}">
                <a16:creationId xmlns:a16="http://schemas.microsoft.com/office/drawing/2014/main" id="{312989ED-1A04-4F3A-B978-E203D620ABDD}"/>
              </a:ext>
            </a:extLst>
          </p:cNvPr>
          <p:cNvSpPr>
            <a:spLocks noGrp="1"/>
          </p:cNvSpPr>
          <p:nvPr>
            <p:ph sz="quarter" idx="15" hasCustomPrompt="1"/>
            <p:custDataLst>
              <p:tags r:id="rId3"/>
            </p:custDataLst>
          </p:nvPr>
        </p:nvSpPr>
        <p:spPr>
          <a:xfrm>
            <a:off x="725111" y="10596950"/>
            <a:ext cx="18653882" cy="327239"/>
          </a:xfrm>
        </p:spPr>
        <p:txBody>
          <a:bodyPr/>
          <a:lstStyle>
            <a:lvl1pPr>
              <a:defRPr sz="1319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&lt;&lt;Dots Bottom&gt;&gt;</a:t>
            </a:r>
            <a:endParaRPr lang="en-US"/>
          </a:p>
        </p:txBody>
      </p:sp>
      <p:sp>
        <p:nvSpPr>
          <p:cNvPr id="11" name="Dots Top">
            <a:extLst>
              <a:ext uri="{FF2B5EF4-FFF2-40B4-BE49-F238E27FC236}">
                <a16:creationId xmlns:a16="http://schemas.microsoft.com/office/drawing/2014/main" id="{0B24A994-42AD-4199-868F-26B1DD95A9C0}"/>
              </a:ext>
            </a:extLst>
          </p:cNvPr>
          <p:cNvSpPr>
            <a:spLocks noGrp="1"/>
          </p:cNvSpPr>
          <p:nvPr>
            <p:ph sz="quarter" idx="16" hasCustomPrompt="1"/>
            <p:custDataLst>
              <p:tags r:id="rId4"/>
            </p:custDataLst>
          </p:nvPr>
        </p:nvSpPr>
        <p:spPr>
          <a:xfrm>
            <a:off x="724224" y="712400"/>
            <a:ext cx="18653882" cy="327239"/>
          </a:xfrm>
        </p:spPr>
        <p:txBody>
          <a:bodyPr/>
          <a:lstStyle>
            <a:lvl1pPr>
              <a:defRPr sz="1319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&lt;&lt;Dots Top&gt;&gt;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706414" y="4054743"/>
            <a:ext cx="7742671" cy="534044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632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con">
            <a:extLst>
              <a:ext uri="{FF2B5EF4-FFF2-40B4-BE49-F238E27FC236}">
                <a16:creationId xmlns:a16="http://schemas.microsoft.com/office/drawing/2014/main" id="{0E70EB59-3069-433D-863F-64A2963FA1AC}"/>
              </a:ext>
            </a:extLst>
          </p:cNvPr>
          <p:cNvSpPr>
            <a:spLocks noGrp="1"/>
          </p:cNvSpPr>
          <p:nvPr>
            <p:ph type="pic" sz="quarter" idx="10"/>
            <p:custDataLst>
              <p:tags r:id="rId1"/>
            </p:custDataLst>
          </p:nvPr>
        </p:nvSpPr>
        <p:spPr>
          <a:xfrm>
            <a:off x="11312336" y="6545274"/>
            <a:ext cx="8073300" cy="4036933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ontact Image 2">
            <a:extLst>
              <a:ext uri="{FF2B5EF4-FFF2-40B4-BE49-F238E27FC236}">
                <a16:creationId xmlns:a16="http://schemas.microsoft.com/office/drawing/2014/main" id="{56192265-15A2-49D8-8330-7187049974D9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470512" y="8905000"/>
            <a:ext cx="1484063" cy="14841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act Image 1">
            <a:extLst>
              <a:ext uri="{FF2B5EF4-FFF2-40B4-BE49-F238E27FC236}">
                <a16:creationId xmlns:a16="http://schemas.microsoft.com/office/drawing/2014/main" id="{0284B23E-4741-457A-9A38-5BD7C2EBBFD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3"/>
            </p:custDataLst>
          </p:nvPr>
        </p:nvSpPr>
        <p:spPr>
          <a:xfrm>
            <a:off x="682669" y="8905000"/>
            <a:ext cx="1484063" cy="14841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OC Holder">
            <a:extLst>
              <a:ext uri="{FF2B5EF4-FFF2-40B4-BE49-F238E27FC236}">
                <a16:creationId xmlns:a16="http://schemas.microsoft.com/office/drawing/2014/main" id="{B101EF26-CBDE-4859-8799-B7A059850A42}"/>
              </a:ext>
            </a:extLst>
          </p:cNvPr>
          <p:cNvSpPr>
            <a:spLocks noGrp="1"/>
          </p:cNvSpPr>
          <p:nvPr>
            <p:ph sz="quarter" idx="11" hasCustomPrompt="1"/>
            <p:custDataLst>
              <p:tags r:id="rId4"/>
            </p:custDataLst>
          </p:nvPr>
        </p:nvSpPr>
        <p:spPr>
          <a:xfrm>
            <a:off x="682669" y="2891156"/>
            <a:ext cx="9326940" cy="5316569"/>
          </a:xfrm>
        </p:spPr>
        <p:txBody>
          <a:bodyPr/>
          <a:lstStyle>
            <a:lvl1pPr>
              <a:defRPr sz="2309"/>
            </a:lvl1pPr>
          </a:lstStyle>
          <a:p>
            <a:pPr lvl="0"/>
            <a:r>
              <a:rPr lang="en-GB" dirty="0"/>
              <a:t>&lt;&lt;TOC&gt;&gt;</a:t>
            </a:r>
            <a:endParaRPr lang="en-US" dirty="0"/>
          </a:p>
        </p:txBody>
      </p:sp>
      <p:sp>
        <p:nvSpPr>
          <p:cNvPr id="5" name="Contents">
            <a:extLst>
              <a:ext uri="{FF2B5EF4-FFF2-40B4-BE49-F238E27FC236}">
                <a16:creationId xmlns:a16="http://schemas.microsoft.com/office/drawing/2014/main" id="{F41B5A8F-DE71-4D88-B4B1-9D449A0BBF9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24223" y="1056727"/>
            <a:ext cx="16434612" cy="709451"/>
          </a:xfrm>
        </p:spPr>
        <p:txBody>
          <a:bodyPr/>
          <a:lstStyle>
            <a:lvl1pPr>
              <a:spcAft>
                <a:spcPts val="0"/>
              </a:spcAft>
              <a:defRPr sz="4617" baseline="0">
                <a:solidFill>
                  <a:srgbClr val="FB5A17"/>
                </a:solidFill>
              </a:defRPr>
            </a:lvl1pPr>
          </a:lstStyle>
          <a:p>
            <a:pPr lvl="0"/>
            <a:r>
              <a:rPr lang="en-US"/>
              <a:t>&lt;&lt;Labels.Contents&gt;&gt;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7" hasCustomPrompt="1"/>
            <p:custDataLst>
              <p:tags r:id="rId6"/>
            </p:custDataLst>
          </p:nvPr>
        </p:nvSpPr>
        <p:spPr>
          <a:xfrm>
            <a:off x="2287026" y="8905000"/>
            <a:ext cx="4084140" cy="1507913"/>
          </a:xfrm>
        </p:spPr>
        <p:txBody>
          <a:bodyPr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309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989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8" hasCustomPrompt="1"/>
            <p:custDataLst>
              <p:tags r:id="rId7"/>
            </p:custDataLst>
          </p:nvPr>
        </p:nvSpPr>
        <p:spPr>
          <a:xfrm>
            <a:off x="8092870" y="8905000"/>
            <a:ext cx="4084140" cy="1507913"/>
          </a:xfrm>
        </p:spPr>
        <p:txBody>
          <a:bodyPr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309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989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315415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mage bottom">
            <a:extLst>
              <a:ext uri="{FF2B5EF4-FFF2-40B4-BE49-F238E27FC236}">
                <a16:creationId xmlns:a16="http://schemas.microsoft.com/office/drawing/2014/main" id="{BDCB95BB-87E7-4529-A1B7-FE928DEFD134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1"/>
            </p:custDataLst>
          </p:nvPr>
        </p:nvSpPr>
        <p:spPr>
          <a:xfrm>
            <a:off x="0" y="6499106"/>
            <a:ext cx="20104100" cy="4810244"/>
          </a:xfrm>
          <a:solidFill>
            <a:schemeClr val="accent1"/>
          </a:solidFill>
        </p:spPr>
        <p:txBody>
          <a:bodyPr/>
          <a:lstStyle>
            <a:lvl1pPr>
              <a:defRPr sz="2309" b="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ots bottom">
            <a:extLst>
              <a:ext uri="{FF2B5EF4-FFF2-40B4-BE49-F238E27FC236}">
                <a16:creationId xmlns:a16="http://schemas.microsoft.com/office/drawing/2014/main" id="{6E73B799-D4EF-47D8-A7D7-60B46F36121E}"/>
              </a:ext>
            </a:extLst>
          </p:cNvPr>
          <p:cNvSpPr>
            <a:spLocks noGrp="1"/>
          </p:cNvSpPr>
          <p:nvPr>
            <p:ph sz="quarter" idx="13" hasCustomPrompt="1"/>
            <p:custDataLst>
              <p:tags r:id="rId2"/>
            </p:custDataLst>
          </p:nvPr>
        </p:nvSpPr>
        <p:spPr>
          <a:xfrm>
            <a:off x="724223" y="10581573"/>
            <a:ext cx="18583203" cy="476459"/>
          </a:xfrm>
        </p:spPr>
        <p:txBody>
          <a:bodyPr/>
          <a:lstStyle>
            <a:lvl1pPr>
              <a:defRPr sz="131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&lt;&lt;Dots Bottom&gt;&gt;</a:t>
            </a:r>
            <a:endParaRPr lang="en-US"/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060D30FA-08E1-4567-BED8-F3E48D7FE4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46578" y="3389525"/>
            <a:ext cx="9033757" cy="3098605"/>
          </a:xfrm>
        </p:spPr>
        <p:txBody>
          <a:bodyPr wrap="square" anchor="b">
            <a:spAutoFit/>
          </a:bodyPr>
          <a:lstStyle>
            <a:lvl1pPr>
              <a:spcAft>
                <a:spcPts val="0"/>
              </a:spcAft>
              <a:defRPr sz="6596">
                <a:solidFill>
                  <a:srgbClr val="FB5A17"/>
                </a:solidFill>
              </a:defRPr>
            </a:lvl1pPr>
            <a:lvl2pPr>
              <a:spcAft>
                <a:spcPts val="0"/>
              </a:spcAft>
              <a:defRPr sz="5277" b="0">
                <a:solidFill>
                  <a:schemeClr val="tx1"/>
                </a:solidFill>
              </a:defRPr>
            </a:lvl2pPr>
            <a:lvl3pPr marL="0" indent="0">
              <a:buNone/>
              <a:defRPr sz="3958"/>
            </a:lvl3pPr>
            <a:lvl4pPr marL="0" indent="0">
              <a:buNone/>
              <a:tabLst/>
              <a:defRPr sz="3958"/>
            </a:lvl4pPr>
            <a:lvl5pPr marL="0" indent="0">
              <a:buNone/>
              <a:defRPr sz="3958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Section number">
            <a:extLst>
              <a:ext uri="{FF2B5EF4-FFF2-40B4-BE49-F238E27FC236}">
                <a16:creationId xmlns:a16="http://schemas.microsoft.com/office/drawing/2014/main" id="{34A1ED92-88E2-404B-9D29-539197A3DE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-80018" y="2374666"/>
            <a:ext cx="5726596" cy="5278482"/>
          </a:xfrm>
        </p:spPr>
        <p:txBody>
          <a:bodyPr wrap="square">
            <a:spAutoFit/>
          </a:bodyPr>
          <a:lstStyle>
            <a:lvl1pPr algn="r">
              <a:defRPr sz="34299" b="1" baseline="0">
                <a:solidFill>
                  <a:schemeClr val="accent1"/>
                </a:solidFill>
                <a:latin typeface="+mn-lt"/>
              </a:defRPr>
            </a:lvl1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/>
              <a:t>0#</a:t>
            </a:r>
          </a:p>
        </p:txBody>
      </p:sp>
    </p:spTree>
    <p:extLst>
      <p:ext uri="{BB962C8B-B14F-4D97-AF65-F5344CB8AC3E}">
        <p14:creationId xmlns:p14="http://schemas.microsoft.com/office/powerpoint/2010/main" val="233488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lower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age No">
            <a:extLst>
              <a:ext uri="{FF2B5EF4-FFF2-40B4-BE49-F238E27FC236}">
                <a16:creationId xmlns:a16="http://schemas.microsoft.com/office/drawing/2014/main" id="{38D33312-678F-4EBB-9C02-0FA9B1BCC527}"/>
              </a:ext>
            </a:extLst>
          </p:cNvPr>
          <p:cNvSpPr>
            <a:spLocks noGrp="1"/>
          </p:cNvSpPr>
          <p:nvPr>
            <p:ph sz="quarter" idx="12" hasCustomPrompt="1"/>
            <p:custDataLst>
              <p:tags r:id="rId1"/>
            </p:custDataLst>
          </p:nvPr>
        </p:nvSpPr>
        <p:spPr>
          <a:xfrm>
            <a:off x="18823849" y="10715683"/>
            <a:ext cx="326494" cy="326517"/>
          </a:xfrm>
        </p:spPr>
        <p:txBody>
          <a:bodyPr/>
          <a:lstStyle>
            <a:lvl1pPr>
              <a:defRPr sz="1649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sz="1649" baseline="0"/>
              <a:t>&lt;P</a:t>
            </a:r>
            <a:endParaRPr lang="en-US"/>
          </a:p>
        </p:txBody>
      </p:sp>
      <p:sp>
        <p:nvSpPr>
          <p:cNvPr id="16" name="Orange C">
            <a:extLst>
              <a:ext uri="{FF2B5EF4-FFF2-40B4-BE49-F238E27FC236}">
                <a16:creationId xmlns:a16="http://schemas.microsoft.com/office/drawing/2014/main" id="{6AE70A29-EC45-46D2-A49E-B908E378D98A}"/>
              </a:ext>
            </a:extLst>
          </p:cNvPr>
          <p:cNvSpPr>
            <a:spLocks noGrp="1"/>
          </p:cNvSpPr>
          <p:nvPr>
            <p:ph sz="quarter" idx="14" hasCustomPrompt="1"/>
            <p:custDataLst>
              <p:tags r:id="rId2"/>
            </p:custDataLst>
          </p:nvPr>
        </p:nvSpPr>
        <p:spPr>
          <a:xfrm>
            <a:off x="19197832" y="10715683"/>
            <a:ext cx="326494" cy="326517"/>
          </a:xfrm>
        </p:spPr>
        <p:txBody>
          <a:bodyPr/>
          <a:lstStyle>
            <a:lvl1pPr>
              <a:defRPr sz="2638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</a:t>
            </a:r>
            <a:endParaRPr lang="en-US" dirty="0"/>
          </a:p>
        </p:txBody>
      </p:sp>
      <p:sp>
        <p:nvSpPr>
          <p:cNvPr id="6" name="Image Bottom">
            <a:extLst>
              <a:ext uri="{FF2B5EF4-FFF2-40B4-BE49-F238E27FC236}">
                <a16:creationId xmlns:a16="http://schemas.microsoft.com/office/drawing/2014/main" id="{E8CED35E-814D-4421-97E8-3C5B31A0167F}"/>
              </a:ext>
            </a:extLst>
          </p:cNvPr>
          <p:cNvSpPr>
            <a:spLocks noGrp="1"/>
          </p:cNvSpPr>
          <p:nvPr>
            <p:ph type="pic" sz="quarter" idx="11"/>
            <p:custDataLst>
              <p:tags r:id="rId3"/>
            </p:custDataLst>
          </p:nvPr>
        </p:nvSpPr>
        <p:spPr>
          <a:xfrm>
            <a:off x="24362" y="6500650"/>
            <a:ext cx="20104100" cy="48087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Dots Bottom">
            <a:extLst>
              <a:ext uri="{FF2B5EF4-FFF2-40B4-BE49-F238E27FC236}">
                <a16:creationId xmlns:a16="http://schemas.microsoft.com/office/drawing/2014/main" id="{241BB3F5-198A-4536-9FFF-489E188B7001}"/>
              </a:ext>
            </a:extLst>
          </p:cNvPr>
          <p:cNvSpPr>
            <a:spLocks noGrp="1"/>
          </p:cNvSpPr>
          <p:nvPr>
            <p:ph sz="quarter" idx="15" hasCustomPrompt="1"/>
            <p:custDataLst>
              <p:tags r:id="rId4"/>
            </p:custDataLst>
          </p:nvPr>
        </p:nvSpPr>
        <p:spPr>
          <a:xfrm>
            <a:off x="725111" y="10596950"/>
            <a:ext cx="18653882" cy="327239"/>
          </a:xfrm>
        </p:spPr>
        <p:txBody>
          <a:bodyPr/>
          <a:lstStyle>
            <a:lvl1pPr>
              <a:defRPr sz="1319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&lt;&lt;Dots Bottom&gt;&gt;</a:t>
            </a:r>
            <a:endParaRPr lang="en-US" dirty="0"/>
          </a:p>
        </p:txBody>
      </p:sp>
      <p:sp>
        <p:nvSpPr>
          <p:cNvPr id="14" name="Text">
            <a:extLst>
              <a:ext uri="{FF2B5EF4-FFF2-40B4-BE49-F238E27FC236}">
                <a16:creationId xmlns:a16="http://schemas.microsoft.com/office/drawing/2014/main" id="{B6424034-FA39-4AA1-AA8B-137D00A1D7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5110" y="2434033"/>
            <a:ext cx="13661887" cy="5403356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 marL="237456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buAutoNum type="arabicPeriod"/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buAutoNum type="alphaLcPeriod"/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94AFE5-EC90-40CB-B9EA-8B2BCED8C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Dots Top">
            <a:extLst>
              <a:ext uri="{FF2B5EF4-FFF2-40B4-BE49-F238E27FC236}">
                <a16:creationId xmlns:a16="http://schemas.microsoft.com/office/drawing/2014/main" id="{92262E8A-CA72-4E25-9386-914D1D72E342}"/>
              </a:ext>
            </a:extLst>
          </p:cNvPr>
          <p:cNvSpPr>
            <a:spLocks noChangeShapeType="1"/>
          </p:cNvSpPr>
          <p:nvPr userDrawn="1"/>
        </p:nvSpPr>
        <p:spPr bwMode="white">
          <a:xfrm>
            <a:off x="724702" y="712400"/>
            <a:ext cx="18654700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968"/>
          </a:p>
        </p:txBody>
      </p:sp>
      <p:sp>
        <p:nvSpPr>
          <p:cNvPr id="8" name="osborneclarke">
            <a:extLst>
              <a:ext uri="{FF2B5EF4-FFF2-40B4-BE49-F238E27FC236}">
                <a16:creationId xmlns:a16="http://schemas.microsoft.com/office/drawing/2014/main" id="{3854EBE4-F0F6-40C7-A64E-0C9BAACF71ED}"/>
              </a:ext>
            </a:extLst>
          </p:cNvPr>
          <p:cNvSpPr>
            <a:spLocks noChangeArrowheads="1"/>
          </p:cNvSpPr>
          <p:nvPr userDrawn="1"/>
        </p:nvSpPr>
        <p:spPr bwMode="white">
          <a:xfrm>
            <a:off x="724702" y="412342"/>
            <a:ext cx="1467350" cy="203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GB" sz="1319" b="0" dirty="0">
                <a:solidFill>
                  <a:schemeClr val="bg1"/>
                </a:solidFill>
              </a:rPr>
              <a:t>osborneclarke.com </a:t>
            </a:r>
          </a:p>
        </p:txBody>
      </p:sp>
    </p:spTree>
    <p:extLst>
      <p:ext uri="{BB962C8B-B14F-4D97-AF65-F5344CB8AC3E}">
        <p14:creationId xmlns:p14="http://schemas.microsoft.com/office/powerpoint/2010/main" val="3776526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100" b="1" i="0">
                <a:solidFill>
                  <a:srgbClr val="96E3D6"/>
                </a:solidFill>
                <a:latin typeface="Quicksand-SemiBold"/>
                <a:cs typeface="Quicksand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0850" b="0" i="0">
                <a:solidFill>
                  <a:schemeClr val="bg1"/>
                </a:solidFill>
                <a:latin typeface="Quicksand"/>
                <a:cs typeface="Quicksand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C in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ags">
            <a:extLst>
              <a:ext uri="{FF2B5EF4-FFF2-40B4-BE49-F238E27FC236}">
                <a16:creationId xmlns:a16="http://schemas.microsoft.com/office/drawing/2014/main" id="{A6C34234-1787-4789-BB23-535330158820}"/>
              </a:ext>
            </a:extLst>
          </p:cNvPr>
          <p:cNvSpPr>
            <a:spLocks noGrp="1"/>
          </p:cNvSpPr>
          <p:nvPr>
            <p:ph type="pic" sz="quarter" idx="11"/>
            <p:custDataLst>
              <p:tags r:id="rId1"/>
            </p:custDataLst>
          </p:nvPr>
        </p:nvSpPr>
        <p:spPr>
          <a:xfrm>
            <a:off x="908246" y="7563313"/>
            <a:ext cx="18378630" cy="303363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Client">
            <a:extLst>
              <a:ext uri="{FF2B5EF4-FFF2-40B4-BE49-F238E27FC236}">
                <a16:creationId xmlns:a16="http://schemas.microsoft.com/office/drawing/2014/main" id="{A94C5CA8-A189-4C74-B0A2-A8F457F3C04F}"/>
              </a:ext>
            </a:extLst>
          </p:cNvPr>
          <p:cNvSpPr txBox="1"/>
          <p:nvPr userDrawn="1"/>
        </p:nvSpPr>
        <p:spPr>
          <a:xfrm>
            <a:off x="16057556" y="3728227"/>
            <a:ext cx="3359918" cy="137037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8962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77925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16887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5585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948129" algn="l" defTabSz="7792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337755" algn="l" defTabSz="7792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727381" algn="l" defTabSz="7792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117007" algn="l" defTabSz="7792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GB" sz="3298" spc="-33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905" b="1" spc="-33" dirty="0">
                <a:solidFill>
                  <a:srgbClr val="FB5A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9" name="Sectors">
            <a:extLst>
              <a:ext uri="{FF2B5EF4-FFF2-40B4-BE49-F238E27FC236}">
                <a16:creationId xmlns:a16="http://schemas.microsoft.com/office/drawing/2014/main" id="{760F7017-7CE3-4D1B-A165-183A9B5F1A39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2"/>
            </p:custDataLst>
          </p:nvPr>
        </p:nvSpPr>
        <p:spPr>
          <a:xfrm>
            <a:off x="12204930" y="3639178"/>
            <a:ext cx="3359918" cy="1541945"/>
          </a:xfrm>
        </p:spPr>
        <p:txBody>
          <a:bodyPr anchor="ctr" anchorCtr="0"/>
          <a:lstStyle>
            <a:lvl1pPr>
              <a:defRPr sz="8905" b="1" spc="-33" baseline="0">
                <a:solidFill>
                  <a:schemeClr val="accent2"/>
                </a:solidFill>
              </a:defRPr>
            </a:lvl1pPr>
            <a:lvl2pPr>
              <a:defRPr sz="9894" baseline="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GB" dirty="0"/>
              <a:t>Se</a:t>
            </a:r>
            <a:endParaRPr lang="en-US" dirty="0"/>
          </a:p>
        </p:txBody>
      </p:sp>
      <p:sp>
        <p:nvSpPr>
          <p:cNvPr id="18" name="Locations">
            <a:extLst>
              <a:ext uri="{FF2B5EF4-FFF2-40B4-BE49-F238E27FC236}">
                <a16:creationId xmlns:a16="http://schemas.microsoft.com/office/drawing/2014/main" id="{E825F910-D63B-4F80-A699-8EC0140AA0C9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8364176" y="3639178"/>
            <a:ext cx="3359918" cy="1541945"/>
          </a:xfrm>
        </p:spPr>
        <p:txBody>
          <a:bodyPr anchor="ctr" anchorCtr="0"/>
          <a:lstStyle>
            <a:lvl1pPr>
              <a:defRPr sz="8905" b="1" spc="-33" baseline="0">
                <a:solidFill>
                  <a:schemeClr val="accent1"/>
                </a:solidFill>
              </a:defRPr>
            </a:lvl1pPr>
            <a:lvl2pPr>
              <a:defRPr sz="9894" b="1" baseline="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GB" dirty="0"/>
              <a:t>Lo</a:t>
            </a:r>
            <a:endParaRPr lang="en-US" dirty="0"/>
          </a:p>
        </p:txBody>
      </p:sp>
      <p:sp>
        <p:nvSpPr>
          <p:cNvPr id="17" name="Partners">
            <a:extLst>
              <a:ext uri="{FF2B5EF4-FFF2-40B4-BE49-F238E27FC236}">
                <a16:creationId xmlns:a16="http://schemas.microsoft.com/office/drawing/2014/main" id="{6CFA06CC-6777-43A5-BFB3-40C6EA20F6E9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0912" y="3639178"/>
            <a:ext cx="3359918" cy="1541945"/>
          </a:xfrm>
        </p:spPr>
        <p:txBody>
          <a:bodyPr anchor="ctr" anchorCtr="0"/>
          <a:lstStyle>
            <a:lvl1pPr>
              <a:defRPr sz="8905" b="1" spc="-33" baseline="0">
                <a:solidFill>
                  <a:schemeClr val="accent2"/>
                </a:solidFill>
              </a:defRPr>
            </a:lvl1pPr>
            <a:lvl2pPr>
              <a:defRPr sz="9894" baseline="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GB" dirty="0"/>
              <a:t>Pa</a:t>
            </a:r>
            <a:endParaRPr lang="en-US" dirty="0"/>
          </a:p>
        </p:txBody>
      </p:sp>
      <p:sp>
        <p:nvSpPr>
          <p:cNvPr id="14" name="Lawyers">
            <a:extLst>
              <a:ext uri="{FF2B5EF4-FFF2-40B4-BE49-F238E27FC236}">
                <a16:creationId xmlns:a16="http://schemas.microsoft.com/office/drawing/2014/main" id="{58DCD952-74BF-4B98-B317-CB556456080C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725108" y="3639178"/>
            <a:ext cx="3359918" cy="1541945"/>
          </a:xfrm>
        </p:spPr>
        <p:txBody>
          <a:bodyPr anchor="ctr" anchorCtr="0"/>
          <a:lstStyle>
            <a:lvl1pPr>
              <a:defRPr sz="8905" b="1" spc="-33" baseline="0">
                <a:solidFill>
                  <a:schemeClr val="accent1"/>
                </a:solidFill>
              </a:defRPr>
            </a:lvl1pPr>
            <a:lvl2pPr>
              <a:defRPr sz="9894" baseline="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GB" dirty="0"/>
              <a:t>La</a:t>
            </a:r>
            <a:endParaRPr lang="en-US" dirty="0"/>
          </a:p>
        </p:txBody>
      </p:sp>
      <p:sp>
        <p:nvSpPr>
          <p:cNvPr id="13" name="About OC">
            <a:extLst>
              <a:ext uri="{FF2B5EF4-FFF2-40B4-BE49-F238E27FC236}">
                <a16:creationId xmlns:a16="http://schemas.microsoft.com/office/drawing/2014/main" id="{22CBAFA5-5EEB-418A-9D9A-B449731B4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724224" y="1058996"/>
            <a:ext cx="18675701" cy="710565"/>
          </a:xfrm>
        </p:spPr>
        <p:txBody>
          <a:bodyPr/>
          <a:lstStyle>
            <a:lvl1pPr>
              <a:spcAft>
                <a:spcPts val="0"/>
              </a:spcAft>
              <a:defRPr sz="4617" baseline="0">
                <a:solidFill>
                  <a:srgbClr val="FB5A17"/>
                </a:solidFill>
              </a:defRPr>
            </a:lvl1pPr>
          </a:lstStyle>
          <a:p>
            <a:pPr lvl="0"/>
            <a:r>
              <a:rPr lang="en-GB" sz="4617"/>
              <a:t>About Osborne Clark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24222" y="5123343"/>
            <a:ext cx="3359918" cy="1323877"/>
          </a:xfrm>
        </p:spPr>
        <p:txBody>
          <a:bodyPr>
            <a:normAutofit/>
          </a:bodyPr>
          <a:lstStyle>
            <a:lvl1pPr>
              <a:defRPr sz="2902" spc="-3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alented lawyer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4570912" y="2780928"/>
            <a:ext cx="3359918" cy="902373"/>
          </a:xfrm>
        </p:spPr>
        <p:txBody>
          <a:bodyPr anchor="b" anchorCtr="0">
            <a:normAutofit/>
          </a:bodyPr>
          <a:lstStyle>
            <a:lvl1pPr>
              <a:defRPr sz="2902" spc="-3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working with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4570912" y="5123343"/>
            <a:ext cx="3359918" cy="1323877"/>
          </a:xfrm>
        </p:spPr>
        <p:txBody>
          <a:bodyPr>
            <a:normAutofit/>
          </a:bodyPr>
          <a:lstStyle>
            <a:lvl1pPr>
              <a:defRPr sz="2902" spc="-3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xpert partners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9" hasCustomPrompt="1"/>
            <p:custDataLst>
              <p:tags r:id="rId10"/>
            </p:custDataLst>
          </p:nvPr>
        </p:nvSpPr>
        <p:spPr>
          <a:xfrm>
            <a:off x="8364176" y="2778547"/>
            <a:ext cx="3359918" cy="902373"/>
          </a:xfrm>
        </p:spPr>
        <p:txBody>
          <a:bodyPr anchor="b" anchorCtr="0">
            <a:normAutofit/>
          </a:bodyPr>
          <a:lstStyle>
            <a:lvl1pPr>
              <a:defRPr sz="2902" spc="-3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</a:t>
            </a:r>
            <a:endParaRPr lang="en-GB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0" hasCustomPrompt="1"/>
            <p:custDataLst>
              <p:tags r:id="rId11"/>
            </p:custDataLst>
          </p:nvPr>
        </p:nvSpPr>
        <p:spPr>
          <a:xfrm>
            <a:off x="8364176" y="5123343"/>
            <a:ext cx="3359918" cy="1323877"/>
          </a:xfrm>
        </p:spPr>
        <p:txBody>
          <a:bodyPr>
            <a:normAutofit/>
          </a:bodyPr>
          <a:lstStyle>
            <a:lvl1pPr>
              <a:defRPr sz="2902" spc="-3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ternational locations</a:t>
            </a:r>
            <a:endParaRPr lang="en-GB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1" hasCustomPrompt="1"/>
            <p:custDataLst>
              <p:tags r:id="rId12"/>
            </p:custDataLst>
          </p:nvPr>
        </p:nvSpPr>
        <p:spPr>
          <a:xfrm>
            <a:off x="12204930" y="2778547"/>
            <a:ext cx="3359918" cy="902373"/>
          </a:xfrm>
        </p:spPr>
        <p:txBody>
          <a:bodyPr anchor="b" anchorCtr="0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2902" spc="-3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advising across</a:t>
            </a:r>
            <a:endParaRPr lang="en-GB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2" hasCustomPrompt="1"/>
            <p:custDataLst>
              <p:tags r:id="rId13"/>
            </p:custDataLst>
          </p:nvPr>
        </p:nvSpPr>
        <p:spPr>
          <a:xfrm>
            <a:off x="12204930" y="5123343"/>
            <a:ext cx="3359918" cy="1323877"/>
          </a:xfrm>
        </p:spPr>
        <p:txBody>
          <a:bodyPr>
            <a:normAutofit/>
          </a:bodyPr>
          <a:lstStyle>
            <a:lvl1pPr>
              <a:defRPr sz="2902" spc="-3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re sectors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23" hasCustomPrompt="1"/>
            <p:custDataLst>
              <p:tags r:id="rId14"/>
            </p:custDataLst>
          </p:nvPr>
        </p:nvSpPr>
        <p:spPr>
          <a:xfrm>
            <a:off x="16057556" y="2778545"/>
            <a:ext cx="3359918" cy="902373"/>
          </a:xfrm>
        </p:spPr>
        <p:txBody>
          <a:bodyPr anchor="b" anchorCtr="0">
            <a:normAutofit/>
          </a:bodyPr>
          <a:lstStyle>
            <a:lvl1pPr>
              <a:defRPr sz="2902" spc="-33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with</a:t>
            </a:r>
            <a:endParaRPr lang="en-GB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24" hasCustomPrompt="1"/>
            <p:custDataLst>
              <p:tags r:id="rId15"/>
            </p:custDataLst>
          </p:nvPr>
        </p:nvSpPr>
        <p:spPr>
          <a:xfrm>
            <a:off x="16057556" y="5123344"/>
            <a:ext cx="3359918" cy="1321626"/>
          </a:xfrm>
        </p:spPr>
        <p:txBody>
          <a:bodyPr>
            <a:normAutofit/>
          </a:bodyPr>
          <a:lstStyle>
            <a:lvl1pPr>
              <a:defRPr sz="2902" spc="-33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ent-</a:t>
            </a:r>
            <a:r>
              <a:rPr lang="en-US" dirty="0" err="1"/>
              <a:t>centred</a:t>
            </a:r>
            <a:r>
              <a:rPr lang="en-US" dirty="0"/>
              <a:t> approach</a:t>
            </a:r>
            <a:endParaRPr lang="en-GB" dirty="0"/>
          </a:p>
        </p:txBody>
      </p:sp>
      <p:sp>
        <p:nvSpPr>
          <p:cNvPr id="20" name="OC Business Name">
            <a:extLst>
              <a:ext uri="{FF2B5EF4-FFF2-40B4-BE49-F238E27FC236}">
                <a16:creationId xmlns:a16="http://schemas.microsoft.com/office/drawing/2014/main" id="{AF1ED688-3D68-4790-A992-D401ABC25CAF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16"/>
            </p:custDataLst>
          </p:nvPr>
        </p:nvSpPr>
        <p:spPr>
          <a:xfrm>
            <a:off x="558007" y="10650381"/>
            <a:ext cx="12816364" cy="406159"/>
          </a:xfrm>
        </p:spPr>
        <p:txBody>
          <a:bodyPr lIns="90000" tIns="46800" rIns="90000" bIns="111600">
            <a:noAutofit/>
          </a:bodyPr>
          <a:lstStyle>
            <a:lvl1pPr>
              <a:spcAft>
                <a:spcPts val="0"/>
              </a:spcAft>
              <a:defRPr sz="1319"/>
            </a:lvl1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OC</a:t>
            </a:r>
            <a:r>
              <a:rPr lang="en-US" dirty="0"/>
              <a:t> Business Name&gt;&gt;</a:t>
            </a:r>
          </a:p>
        </p:txBody>
      </p:sp>
      <p:sp>
        <p:nvSpPr>
          <p:cNvPr id="23" name="Relationship">
            <a:extLst>
              <a:ext uri="{FF2B5EF4-FFF2-40B4-BE49-F238E27FC236}">
                <a16:creationId xmlns:a16="http://schemas.microsoft.com/office/drawing/2014/main" id="{0199CF85-1BDD-4404-9914-B2B0FB059A62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17"/>
            </p:custDataLst>
          </p:nvPr>
        </p:nvSpPr>
        <p:spPr>
          <a:xfrm>
            <a:off x="13374371" y="10649639"/>
            <a:ext cx="5345567" cy="406901"/>
          </a:xfrm>
        </p:spPr>
        <p:txBody>
          <a:bodyPr lIns="90000" tIns="46800" rIns="90000" bIns="46800">
            <a:normAutofit/>
          </a:bodyPr>
          <a:lstStyle>
            <a:lvl1pPr>
              <a:spcAft>
                <a:spcPts val="0"/>
              </a:spcAft>
              <a:defRPr sz="1319"/>
            </a:lvl1pPr>
          </a:lstStyle>
          <a:p>
            <a:pPr lvl="0"/>
            <a:r>
              <a:rPr lang="en-GB" dirty="0"/>
              <a:t>&lt;&lt;</a:t>
            </a:r>
            <a:r>
              <a:rPr lang="en-GB" dirty="0" err="1"/>
              <a:t>Labels.Relationship</a:t>
            </a:r>
            <a:r>
              <a:rPr lang="en-GB" dirty="0"/>
              <a:t> Firm&gt;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082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C in numbers + global r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ctors">
            <a:extLst>
              <a:ext uri="{FF2B5EF4-FFF2-40B4-BE49-F238E27FC236}">
                <a16:creationId xmlns:a16="http://schemas.microsoft.com/office/drawing/2014/main" id="{5846A6C1-2066-470E-ABB1-AEDDC17705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15161183" y="6666787"/>
            <a:ext cx="2732901" cy="1206853"/>
          </a:xfrm>
        </p:spPr>
        <p:txBody>
          <a:bodyPr/>
          <a:lstStyle>
            <a:lvl1pPr>
              <a:defRPr sz="8905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dirty="0"/>
              <a:t>Se</a:t>
            </a:r>
            <a:endParaRPr lang="en-US" dirty="0"/>
          </a:p>
        </p:txBody>
      </p:sp>
      <p:sp>
        <p:nvSpPr>
          <p:cNvPr id="11" name="Locations">
            <a:extLst>
              <a:ext uri="{FF2B5EF4-FFF2-40B4-BE49-F238E27FC236}">
                <a16:creationId xmlns:a16="http://schemas.microsoft.com/office/drawing/2014/main" id="{28BDDD25-1B92-4AAC-8F3A-9DD0689710F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5161183" y="4719651"/>
            <a:ext cx="2732901" cy="1206853"/>
          </a:xfrm>
        </p:spPr>
        <p:txBody>
          <a:bodyPr/>
          <a:lstStyle>
            <a:lvl1pPr>
              <a:defRPr sz="8905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Lo</a:t>
            </a:r>
          </a:p>
        </p:txBody>
      </p:sp>
      <p:sp>
        <p:nvSpPr>
          <p:cNvPr id="10" name="Partners">
            <a:extLst>
              <a:ext uri="{FF2B5EF4-FFF2-40B4-BE49-F238E27FC236}">
                <a16:creationId xmlns:a16="http://schemas.microsoft.com/office/drawing/2014/main" id="{2D9285AA-1157-4E1D-8041-D00E77424F4D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5161183" y="2760551"/>
            <a:ext cx="2732901" cy="1206853"/>
          </a:xfrm>
        </p:spPr>
        <p:txBody>
          <a:bodyPr/>
          <a:lstStyle>
            <a:lvl1pPr>
              <a:defRPr sz="8905"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Pa</a:t>
            </a:r>
          </a:p>
        </p:txBody>
      </p:sp>
      <p:sp>
        <p:nvSpPr>
          <p:cNvPr id="9" name="Lawyers">
            <a:extLst>
              <a:ext uri="{FF2B5EF4-FFF2-40B4-BE49-F238E27FC236}">
                <a16:creationId xmlns:a16="http://schemas.microsoft.com/office/drawing/2014/main" id="{2D170AB3-A8A6-4E94-8CC6-525B501BD610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5161182" y="801451"/>
            <a:ext cx="3677494" cy="1206853"/>
          </a:xfrm>
        </p:spPr>
        <p:txBody>
          <a:bodyPr/>
          <a:lstStyle>
            <a:lvl1pPr>
              <a:defRPr sz="8905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La</a:t>
            </a:r>
          </a:p>
        </p:txBody>
      </p:sp>
      <p:sp>
        <p:nvSpPr>
          <p:cNvPr id="15" name="Connections">
            <a:extLst>
              <a:ext uri="{FF2B5EF4-FFF2-40B4-BE49-F238E27FC236}">
                <a16:creationId xmlns:a16="http://schemas.microsoft.com/office/drawing/2014/main" id="{7C48A24A-2DA4-4742-A145-A20BB77B484B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25108" y="2908966"/>
            <a:ext cx="5876888" cy="845766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3958" baseline="0"/>
            </a:lvl1pPr>
          </a:lstStyle>
          <a:p>
            <a:pPr lvl="0"/>
            <a:r>
              <a:rPr lang="en-US" dirty="0"/>
              <a:t>&lt;&lt;Friends Heading&gt;&gt;</a:t>
            </a:r>
          </a:p>
        </p:txBody>
      </p:sp>
      <p:sp>
        <p:nvSpPr>
          <p:cNvPr id="6" name="OC Business Name">
            <a:extLst>
              <a:ext uri="{FF2B5EF4-FFF2-40B4-BE49-F238E27FC236}">
                <a16:creationId xmlns:a16="http://schemas.microsoft.com/office/drawing/2014/main" id="{D91FE0B2-247E-4F73-A3DF-CFF7CF64118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25110" y="9098324"/>
            <a:ext cx="5876784" cy="1128092"/>
          </a:xfrm>
        </p:spPr>
        <p:txBody>
          <a:bodyPr anchor="b" anchorCtr="0">
            <a:normAutofit/>
          </a:bodyPr>
          <a:lstStyle>
            <a:lvl1pPr>
              <a:spcAft>
                <a:spcPts val="0"/>
              </a:spcAft>
              <a:defRPr sz="1649" baseline="0"/>
            </a:lvl1pPr>
          </a:lstStyle>
          <a:p>
            <a:pPr lvl="0"/>
            <a:r>
              <a:rPr lang="en-GB" dirty="0"/>
              <a:t>&lt;&lt;OC Business Name&gt;&gt;</a:t>
            </a: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5C3C6D6-02BE-49B1-8B9B-7ED7A17DE4CF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725110" y="4170324"/>
            <a:ext cx="5876784" cy="4741121"/>
          </a:xfrm>
        </p:spPr>
        <p:txBody>
          <a:bodyPr>
            <a:normAutofit/>
          </a:bodyPr>
          <a:lstStyle>
            <a:lvl1pPr>
              <a:defRPr sz="2638"/>
            </a:lvl1pPr>
          </a:lstStyle>
          <a:p>
            <a:pPr lvl="0"/>
            <a:r>
              <a:rPr lang="en-US" dirty="0"/>
              <a:t>&lt;&lt;Friends Text&gt;&gt;</a:t>
            </a:r>
          </a:p>
        </p:txBody>
      </p:sp>
      <p:sp>
        <p:nvSpPr>
          <p:cNvPr id="16" name="About OC">
            <a:extLst>
              <a:ext uri="{FF2B5EF4-FFF2-40B4-BE49-F238E27FC236}">
                <a16:creationId xmlns:a16="http://schemas.microsoft.com/office/drawing/2014/main" id="{D129700C-5AF3-43E2-AE16-AA76EE3CF5A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724223" y="1058996"/>
            <a:ext cx="13809256" cy="710565"/>
          </a:xfrm>
        </p:spPr>
        <p:txBody>
          <a:bodyPr/>
          <a:lstStyle>
            <a:lvl1pPr>
              <a:spcAft>
                <a:spcPts val="0"/>
              </a:spcAft>
              <a:defRPr sz="4617" baseline="0">
                <a:solidFill>
                  <a:srgbClr val="FB5A17"/>
                </a:solidFill>
              </a:defRPr>
            </a:lvl1pPr>
          </a:lstStyle>
          <a:p>
            <a:pPr lvl="0"/>
            <a:r>
              <a:rPr lang="en-GB" sz="4617"/>
              <a:t>About Osborne Clark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15156810" y="2130082"/>
            <a:ext cx="4159872" cy="437184"/>
          </a:xfrm>
        </p:spPr>
        <p:txBody>
          <a:bodyPr>
            <a:normAutofit/>
          </a:bodyPr>
          <a:lstStyle>
            <a:lvl1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309"/>
            </a:lvl2pPr>
            <a:lvl3pPr>
              <a:defRPr sz="2309"/>
            </a:lvl3pPr>
            <a:lvl4pPr>
              <a:defRPr sz="2309"/>
            </a:lvl4pPr>
            <a:lvl5pPr>
              <a:defRPr sz="2309"/>
            </a:lvl5pPr>
          </a:lstStyle>
          <a:p>
            <a:pPr lvl="0"/>
            <a:r>
              <a:rPr lang="en-US" dirty="0"/>
              <a:t>talented lawyers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15157792" y="2567265"/>
            <a:ext cx="4158891" cy="436879"/>
          </a:xfrm>
        </p:spPr>
        <p:txBody>
          <a:bodyPr>
            <a:normAutofit/>
          </a:bodyPr>
          <a:lstStyle>
            <a:lvl1pPr>
              <a:defRPr sz="2309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309"/>
            </a:lvl2pPr>
            <a:lvl3pPr>
              <a:defRPr sz="2309"/>
            </a:lvl3pPr>
            <a:lvl4pPr>
              <a:defRPr sz="2309"/>
            </a:lvl4pPr>
            <a:lvl5pPr>
              <a:defRPr sz="2309"/>
            </a:lvl5pPr>
          </a:lstStyle>
          <a:p>
            <a:pPr lvl="0"/>
            <a:r>
              <a:rPr lang="en-US" dirty="0"/>
              <a:t>working with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15157792" y="4116101"/>
            <a:ext cx="4158892" cy="410700"/>
          </a:xfrm>
        </p:spPr>
        <p:txBody>
          <a:bodyPr>
            <a:normAutofit/>
          </a:bodyPr>
          <a:lstStyle>
            <a:lvl1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xpert partners</a:t>
            </a:r>
            <a:endParaRPr lang="en-GB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15156811" y="4526801"/>
            <a:ext cx="4159873" cy="436444"/>
          </a:xfrm>
        </p:spPr>
        <p:txBody>
          <a:bodyPr>
            <a:normAutofit/>
          </a:bodyPr>
          <a:lstStyle>
            <a:lvl1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979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979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979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979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</a:t>
            </a:r>
            <a:endParaRPr lang="en-GB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15157791" y="6049457"/>
            <a:ext cx="4127813" cy="436444"/>
          </a:xfrm>
        </p:spPr>
        <p:txBody>
          <a:bodyPr>
            <a:normAutofit/>
          </a:bodyPr>
          <a:lstStyle>
            <a:lvl1pPr>
              <a:defRPr sz="2309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international locations</a:t>
            </a:r>
            <a:endParaRPr lang="en-GB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15156812" y="6485902"/>
            <a:ext cx="4128792" cy="329427"/>
          </a:xfrm>
        </p:spPr>
        <p:txBody>
          <a:bodyPr>
            <a:normAutofit/>
          </a:bodyPr>
          <a:lstStyle>
            <a:lvl1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advising across</a:t>
            </a:r>
            <a:endParaRPr lang="en-GB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25" hasCustomPrompt="1"/>
            <p:custDataLst>
              <p:tags r:id="rId15"/>
            </p:custDataLst>
          </p:nvPr>
        </p:nvSpPr>
        <p:spPr>
          <a:xfrm>
            <a:off x="15158059" y="7987217"/>
            <a:ext cx="4127544" cy="462600"/>
          </a:xfrm>
        </p:spPr>
        <p:txBody>
          <a:bodyPr>
            <a:normAutofit/>
          </a:bodyPr>
          <a:lstStyle>
            <a:lvl1pPr>
              <a:defRPr sz="2309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ore sectors</a:t>
            </a:r>
            <a:endParaRPr lang="en-GB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26" hasCustomPrompt="1"/>
            <p:custDataLst>
              <p:tags r:id="rId16"/>
            </p:custDataLst>
          </p:nvPr>
        </p:nvSpPr>
        <p:spPr>
          <a:xfrm>
            <a:off x="15156810" y="8449816"/>
            <a:ext cx="4128792" cy="461629"/>
          </a:xfrm>
        </p:spPr>
        <p:txBody>
          <a:bodyPr>
            <a:normAutofit/>
          </a:bodyPr>
          <a:lstStyle>
            <a:lvl1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with</a:t>
            </a:r>
            <a:endParaRPr lang="en-GB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27" hasCustomPrompt="1"/>
            <p:custDataLst>
              <p:tags r:id="rId17"/>
            </p:custDataLst>
          </p:nvPr>
        </p:nvSpPr>
        <p:spPr>
          <a:xfrm>
            <a:off x="15156811" y="9849519"/>
            <a:ext cx="4159873" cy="694590"/>
          </a:xfrm>
        </p:spPr>
        <p:txBody>
          <a:bodyPr>
            <a:normAutofit/>
          </a:bodyPr>
          <a:lstStyle>
            <a:lvl1pPr>
              <a:defRPr sz="2309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309"/>
            </a:lvl2pPr>
            <a:lvl3pPr>
              <a:defRPr sz="2309"/>
            </a:lvl3pPr>
            <a:lvl4pPr>
              <a:defRPr sz="2309"/>
            </a:lvl4pPr>
            <a:lvl5pPr>
              <a:defRPr sz="2309"/>
            </a:lvl5pPr>
          </a:lstStyle>
          <a:p>
            <a:pPr lvl="0"/>
            <a:r>
              <a:rPr lang="en-US" dirty="0"/>
              <a:t>client-</a:t>
            </a:r>
            <a:r>
              <a:rPr lang="en-US" dirty="0" err="1"/>
              <a:t>centred</a:t>
            </a:r>
            <a:r>
              <a:rPr lang="en-US" dirty="0"/>
              <a:t> approach</a:t>
            </a:r>
            <a:endParaRPr lang="en-GB" dirty="0"/>
          </a:p>
        </p:txBody>
      </p:sp>
      <p:sp>
        <p:nvSpPr>
          <p:cNvPr id="20" name="Client">
            <a:extLst>
              <a:ext uri="{FF2B5EF4-FFF2-40B4-BE49-F238E27FC236}">
                <a16:creationId xmlns:a16="http://schemas.microsoft.com/office/drawing/2014/main" id="{DADBF2F2-E8F7-46DA-91FE-19DB063D68B2}"/>
              </a:ext>
            </a:extLst>
          </p:cNvPr>
          <p:cNvSpPr txBox="1"/>
          <p:nvPr userDrawn="1"/>
        </p:nvSpPr>
        <p:spPr>
          <a:xfrm>
            <a:off x="15189140" y="8449816"/>
            <a:ext cx="4096466" cy="1872847"/>
          </a:xfrm>
          <a:prstGeom prst="rect">
            <a:avLst/>
          </a:prstGeom>
          <a:noFill/>
        </p:spPr>
        <p:txBody>
          <a:bodyPr wrap="square" lIns="0" tIns="0" rIns="0" bIns="0" rtlCol="0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8962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77925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16887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5585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948129" algn="l" defTabSz="7792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337755" algn="l" defTabSz="7792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727381" algn="l" defTabSz="7792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117007" algn="l" defTabSz="779252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GB" sz="2309" spc="-33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GB" sz="2638" spc="-33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GB" sz="8905" b="1" spc="-33" dirty="0">
                <a:solidFill>
                  <a:srgbClr val="FB5A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  <a:p>
            <a:pPr lvl="0">
              <a:lnSpc>
                <a:spcPct val="90000"/>
              </a:lnSpc>
              <a:spcAft>
                <a:spcPts val="0"/>
              </a:spcAft>
            </a:pPr>
            <a:r>
              <a:rPr lang="en-GB" sz="2309" spc="-33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8" hasCustomPrompt="1"/>
            <p:custDataLst>
              <p:tags r:id="rId18"/>
            </p:custDataLst>
          </p:nvPr>
        </p:nvSpPr>
        <p:spPr>
          <a:xfrm>
            <a:off x="7675572" y="2926777"/>
            <a:ext cx="3682172" cy="436291"/>
          </a:xfrm>
        </p:spPr>
        <p:txBody>
          <a:bodyPr/>
          <a:lstStyle>
            <a:lvl1pPr>
              <a:defRPr sz="263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urop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9" hasCustomPrompt="1"/>
            <p:custDataLst>
              <p:tags r:id="rId19"/>
            </p:custDataLst>
          </p:nvPr>
        </p:nvSpPr>
        <p:spPr>
          <a:xfrm>
            <a:off x="7675572" y="3496697"/>
            <a:ext cx="6857907" cy="3726785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989"/>
              </a:spcAft>
              <a:defRPr sz="1979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979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979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979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979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Belgium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0" hasCustomPrompt="1"/>
            <p:custDataLst>
              <p:tags r:id="rId20"/>
            </p:custDataLst>
          </p:nvPr>
        </p:nvSpPr>
        <p:spPr>
          <a:xfrm>
            <a:off x="7646370" y="7408960"/>
            <a:ext cx="1727696" cy="431955"/>
          </a:xfrm>
        </p:spPr>
        <p:txBody>
          <a:bodyPr/>
          <a:lstStyle>
            <a:lvl1pPr>
              <a:defRPr sz="263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USA</a:t>
            </a:r>
            <a:endParaRPr lang="en-GB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1" hasCustomPrompt="1"/>
            <p:custDataLst>
              <p:tags r:id="rId21"/>
            </p:custDataLst>
          </p:nvPr>
        </p:nvSpPr>
        <p:spPr>
          <a:xfrm>
            <a:off x="7659602" y="7972944"/>
            <a:ext cx="6857907" cy="36013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989"/>
              </a:spcAft>
              <a:defRPr sz="1979"/>
            </a:lvl1pPr>
          </a:lstStyle>
          <a:p>
            <a:pPr lvl="0"/>
            <a:r>
              <a:rPr lang="en-US" dirty="0"/>
              <a:t>New York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7659601" y="8479204"/>
            <a:ext cx="3444921" cy="457110"/>
          </a:xfrm>
        </p:spPr>
        <p:txBody>
          <a:bodyPr/>
          <a:lstStyle>
            <a:lvl1pPr>
              <a:defRPr sz="263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Asia</a:t>
            </a:r>
            <a:endParaRPr lang="en-GB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33" hasCustomPrompt="1"/>
            <p:custDataLst>
              <p:tags r:id="rId23"/>
            </p:custDataLst>
          </p:nvPr>
        </p:nvSpPr>
        <p:spPr>
          <a:xfrm>
            <a:off x="7675571" y="9069046"/>
            <a:ext cx="6857907" cy="1330405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989"/>
              </a:spcAft>
              <a:defRPr sz="1979"/>
            </a:lvl1pPr>
          </a:lstStyle>
          <a:p>
            <a:pPr lvl="0"/>
            <a:r>
              <a:rPr lang="en-US" dirty="0"/>
              <a:t>Chin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6094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C in numbers chart + off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ags">
            <a:extLst>
              <a:ext uri="{FF2B5EF4-FFF2-40B4-BE49-F238E27FC236}">
                <a16:creationId xmlns:a16="http://schemas.microsoft.com/office/drawing/2014/main" id="{CF9028BB-AD01-4A67-BC40-5D2473143ECC}"/>
              </a:ext>
            </a:extLst>
          </p:cNvPr>
          <p:cNvSpPr>
            <a:spLocks noGrp="1"/>
          </p:cNvSpPr>
          <p:nvPr>
            <p:ph type="pic" sz="quarter" idx="11"/>
            <p:custDataLst>
              <p:tags r:id="rId1"/>
            </p:custDataLst>
          </p:nvPr>
        </p:nvSpPr>
        <p:spPr>
          <a:xfrm>
            <a:off x="711723" y="7454908"/>
            <a:ext cx="18402375" cy="303363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OC Chart">
            <a:extLst>
              <a:ext uri="{FF2B5EF4-FFF2-40B4-BE49-F238E27FC236}">
                <a16:creationId xmlns:a16="http://schemas.microsoft.com/office/drawing/2014/main" id="{B457C8CE-65D4-4C3A-923B-8452F78C9072}"/>
              </a:ext>
            </a:extLst>
          </p:cNvPr>
          <p:cNvSpPr>
            <a:spLocks noGrp="1"/>
          </p:cNvSpPr>
          <p:nvPr>
            <p:ph sz="quarter" idx="12" hasCustomPrompt="1"/>
            <p:custDataLst>
              <p:tags r:id="rId2"/>
            </p:custDataLst>
          </p:nvPr>
        </p:nvSpPr>
        <p:spPr>
          <a:xfrm>
            <a:off x="4422506" y="1852241"/>
            <a:ext cx="5876888" cy="5984531"/>
          </a:xfrm>
        </p:spPr>
        <p:txBody>
          <a:bodyPr/>
          <a:lstStyle/>
          <a:p>
            <a:pPr lvl="0"/>
            <a:r>
              <a:rPr lang="en-US" dirty="0"/>
              <a:t>&lt;&lt;</a:t>
            </a:r>
            <a:r>
              <a:rPr lang="en-US" dirty="0" err="1"/>
              <a:t>Labels.OC</a:t>
            </a:r>
            <a:r>
              <a:rPr lang="en-US" dirty="0"/>
              <a:t> Chart&gt;&gt;</a:t>
            </a:r>
          </a:p>
        </p:txBody>
      </p:sp>
      <p:sp>
        <p:nvSpPr>
          <p:cNvPr id="9" name="OC Business Name">
            <a:extLst>
              <a:ext uri="{FF2B5EF4-FFF2-40B4-BE49-F238E27FC236}">
                <a16:creationId xmlns:a16="http://schemas.microsoft.com/office/drawing/2014/main" id="{AF1ED688-3D68-4790-A992-D401ABC25CAF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8007" y="10650380"/>
            <a:ext cx="12816364" cy="436206"/>
          </a:xfrm>
        </p:spPr>
        <p:txBody>
          <a:bodyPr lIns="90000" tIns="46800" rIns="90000" bIns="111600">
            <a:noAutofit/>
          </a:bodyPr>
          <a:lstStyle>
            <a:lvl1pPr>
              <a:spcAft>
                <a:spcPts val="0"/>
              </a:spcAft>
              <a:defRPr sz="1319"/>
            </a:lvl1pPr>
          </a:lstStyle>
          <a:p>
            <a:pPr lvl="0"/>
            <a:r>
              <a:rPr lang="en-US" dirty="0"/>
              <a:t>&lt;&lt;OC Business Name&gt;&gt;</a:t>
            </a:r>
          </a:p>
        </p:txBody>
      </p:sp>
      <p:sp>
        <p:nvSpPr>
          <p:cNvPr id="12" name="Relationship">
            <a:extLst>
              <a:ext uri="{FF2B5EF4-FFF2-40B4-BE49-F238E27FC236}">
                <a16:creationId xmlns:a16="http://schemas.microsoft.com/office/drawing/2014/main" id="{0199CF85-1BDD-4404-9914-B2B0FB059A62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3374371" y="10649639"/>
            <a:ext cx="5404936" cy="406901"/>
          </a:xfrm>
        </p:spPr>
        <p:txBody>
          <a:bodyPr lIns="90000" tIns="46800" rIns="90000" bIns="46800">
            <a:normAutofit/>
          </a:bodyPr>
          <a:lstStyle>
            <a:lvl1pPr>
              <a:spcAft>
                <a:spcPts val="0"/>
              </a:spcAft>
              <a:defRPr sz="1319"/>
            </a:lvl1pPr>
          </a:lstStyle>
          <a:p>
            <a:pPr lvl="0"/>
            <a:r>
              <a:rPr lang="en-GB" dirty="0"/>
              <a:t>&lt;&lt;Relationship Firm&gt;&gt;</a:t>
            </a:r>
            <a:endParaRPr lang="en-US" dirty="0"/>
          </a:p>
        </p:txBody>
      </p:sp>
      <p:sp>
        <p:nvSpPr>
          <p:cNvPr id="17" name="No Employees">
            <a:extLst>
              <a:ext uri="{FF2B5EF4-FFF2-40B4-BE49-F238E27FC236}">
                <a16:creationId xmlns:a16="http://schemas.microsoft.com/office/drawing/2014/main" id="{DCB7664D-13F0-4911-A36E-33048D152201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652987" y="2434034"/>
            <a:ext cx="3420825" cy="1230415"/>
          </a:xfrm>
        </p:spPr>
        <p:txBody>
          <a:bodyPr>
            <a:normAutofit/>
          </a:bodyPr>
          <a:lstStyle>
            <a:lvl1pPr>
              <a:defRPr sz="8905" b="1" baseline="0">
                <a:solidFill>
                  <a:schemeClr val="accent1"/>
                </a:solidFill>
              </a:defRPr>
            </a:lvl1pPr>
            <a:lvl2pPr>
              <a:defRPr sz="25560"/>
            </a:lvl2pPr>
            <a:lvl3pPr>
              <a:defRPr sz="165"/>
            </a:lvl3pPr>
            <a:lvl4pPr>
              <a:defRPr sz="17809"/>
            </a:lvl4pPr>
            <a:lvl5pPr>
              <a:defRPr sz="1319"/>
            </a:lvl5pPr>
          </a:lstStyle>
          <a:p>
            <a:pPr lvl="0"/>
            <a:r>
              <a:rPr lang="en-GB" sz="8905" dirty="0" err="1"/>
              <a:t>Em</a:t>
            </a:r>
            <a:endParaRPr lang="en-US" dirty="0"/>
          </a:p>
        </p:txBody>
      </p:sp>
      <p:sp>
        <p:nvSpPr>
          <p:cNvPr id="18" name="No Locations">
            <a:extLst>
              <a:ext uri="{FF2B5EF4-FFF2-40B4-BE49-F238E27FC236}">
                <a16:creationId xmlns:a16="http://schemas.microsoft.com/office/drawing/2014/main" id="{5BAD1DE4-8003-4D7D-86AD-27AC8F6293E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10210350" y="2434034"/>
            <a:ext cx="2816668" cy="1230415"/>
          </a:xfrm>
        </p:spPr>
        <p:txBody>
          <a:bodyPr>
            <a:normAutofit/>
          </a:bodyPr>
          <a:lstStyle>
            <a:lvl1pPr>
              <a:defRPr sz="8905"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sz="8905" dirty="0"/>
              <a:t>Lo</a:t>
            </a:r>
            <a:endParaRPr lang="en-US" dirty="0"/>
          </a:p>
        </p:txBody>
      </p:sp>
      <p:sp>
        <p:nvSpPr>
          <p:cNvPr id="13" name="About OC">
            <a:extLst>
              <a:ext uri="{FF2B5EF4-FFF2-40B4-BE49-F238E27FC236}">
                <a16:creationId xmlns:a16="http://schemas.microsoft.com/office/drawing/2014/main" id="{6732E7FC-AB5F-4CC0-8515-E24B5AB72E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724224" y="1058996"/>
            <a:ext cx="18675701" cy="710565"/>
          </a:xfrm>
        </p:spPr>
        <p:txBody>
          <a:bodyPr/>
          <a:lstStyle>
            <a:lvl1pPr>
              <a:spcAft>
                <a:spcPts val="0"/>
              </a:spcAft>
              <a:defRPr sz="4617" baseline="0">
                <a:solidFill>
                  <a:srgbClr val="FB5A17"/>
                </a:solidFill>
              </a:defRPr>
            </a:lvl1pPr>
          </a:lstStyle>
          <a:p>
            <a:pPr lvl="0"/>
            <a:r>
              <a:rPr lang="en-GB" sz="4617" dirty="0"/>
              <a:t>About Osborne Clark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6905626" y="3116751"/>
            <a:ext cx="1246613" cy="936049"/>
          </a:xfrm>
        </p:spPr>
        <p:txBody>
          <a:bodyPr wrap="none">
            <a:norm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73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&lt;&lt;</a:t>
            </a:r>
            <a:r>
              <a:rPr lang="en-GB" dirty="0" err="1"/>
              <a:t>Labels.No</a:t>
            </a:r>
            <a:r>
              <a:rPr lang="en-GB" dirty="0"/>
              <a:t> of Partners - pie chart&gt;&gt;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6786750" y="4808700"/>
            <a:ext cx="1424700" cy="1068105"/>
          </a:xfrm>
        </p:spPr>
        <p:txBody>
          <a:bodyPr wrap="none">
            <a:norm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73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&lt;&lt;</a:t>
            </a:r>
            <a:r>
              <a:rPr lang="en-GB" dirty="0" err="1"/>
              <a:t>Labels.No</a:t>
            </a:r>
            <a:r>
              <a:rPr lang="en-GB" dirty="0"/>
              <a:t> of Business Support  - pie chart&gt;&gt;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4879624" y="4108174"/>
            <a:ext cx="1254066" cy="1111893"/>
          </a:xfrm>
        </p:spPr>
        <p:txBody>
          <a:bodyPr wrap="none">
            <a:norm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73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&lt;&lt;</a:t>
            </a:r>
            <a:r>
              <a:rPr lang="en-GB" dirty="0" err="1"/>
              <a:t>Labels.No</a:t>
            </a:r>
            <a:r>
              <a:rPr lang="en-GB" dirty="0"/>
              <a:t> of </a:t>
            </a:r>
            <a:r>
              <a:rPr lang="en-GB" dirty="0" err="1"/>
              <a:t>Laywers</a:t>
            </a:r>
            <a:r>
              <a:rPr lang="en-GB" dirty="0"/>
              <a:t> - pie chart&gt;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  <p:custDataLst>
              <p:tags r:id="rId11"/>
            </p:custDataLst>
          </p:nvPr>
        </p:nvSpPr>
        <p:spPr>
          <a:xfrm>
            <a:off x="13316350" y="2570577"/>
            <a:ext cx="6083584" cy="47384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2638" b="1"/>
            </a:lvl1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Europe</a:t>
            </a:r>
            <a:r>
              <a:rPr lang="en-US" dirty="0"/>
              <a:t>&gt;&gt;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3" hasCustomPrompt="1"/>
            <p:custDataLst>
              <p:tags r:id="rId12"/>
            </p:custDataLst>
          </p:nvPr>
        </p:nvSpPr>
        <p:spPr>
          <a:xfrm>
            <a:off x="13316349" y="3070495"/>
            <a:ext cx="6083575" cy="2475158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979"/>
            </a:lvl1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offices</a:t>
            </a:r>
            <a:r>
              <a:rPr lang="en-US" dirty="0"/>
              <a:t> </a:t>
            </a:r>
            <a:r>
              <a:rPr lang="en-US" dirty="0" err="1"/>
              <a:t>europe</a:t>
            </a:r>
            <a:r>
              <a:rPr lang="en-US" dirty="0"/>
              <a:t>&gt;&gt;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4" hasCustomPrompt="1"/>
            <p:custDataLst>
              <p:tags r:id="rId13"/>
            </p:custDataLst>
          </p:nvPr>
        </p:nvSpPr>
        <p:spPr>
          <a:xfrm>
            <a:off x="13308802" y="6663727"/>
            <a:ext cx="6083584" cy="458894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2638" b="1"/>
            </a:lvl1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Asia</a:t>
            </a:r>
            <a:r>
              <a:rPr lang="en-US" dirty="0"/>
              <a:t>&gt;&gt;</a:t>
            </a:r>
            <a:endParaRPr lang="en-GB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5" hasCustomPrompt="1"/>
            <p:custDataLst>
              <p:tags r:id="rId14"/>
            </p:custDataLst>
          </p:nvPr>
        </p:nvSpPr>
        <p:spPr>
          <a:xfrm>
            <a:off x="13308802" y="7187334"/>
            <a:ext cx="6083575" cy="100637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979"/>
            </a:lvl1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offices</a:t>
            </a:r>
            <a:r>
              <a:rPr lang="en-US" dirty="0"/>
              <a:t> </a:t>
            </a:r>
            <a:r>
              <a:rPr lang="en-US" dirty="0" err="1"/>
              <a:t>asia</a:t>
            </a:r>
            <a:r>
              <a:rPr lang="en-US" dirty="0"/>
              <a:t>&gt;&gt;</a:t>
            </a:r>
            <a:endParaRPr lang="en-GB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6" hasCustomPrompt="1"/>
            <p:custDataLst>
              <p:tags r:id="rId15"/>
            </p:custDataLst>
          </p:nvPr>
        </p:nvSpPr>
        <p:spPr>
          <a:xfrm>
            <a:off x="13309073" y="5722947"/>
            <a:ext cx="6083584" cy="340328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2638" b="1"/>
            </a:lvl1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USA</a:t>
            </a:r>
            <a:r>
              <a:rPr lang="en-US" dirty="0"/>
              <a:t>&gt;&gt;</a:t>
            </a:r>
            <a:endParaRPr lang="en-GB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7" hasCustomPrompt="1"/>
            <p:custDataLst>
              <p:tags r:id="rId16"/>
            </p:custDataLst>
          </p:nvPr>
        </p:nvSpPr>
        <p:spPr>
          <a:xfrm>
            <a:off x="13309073" y="6174133"/>
            <a:ext cx="6083584" cy="4162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979"/>
            </a:lvl1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offices</a:t>
            </a:r>
            <a:r>
              <a:rPr lang="en-US" dirty="0"/>
              <a:t> </a:t>
            </a:r>
            <a:r>
              <a:rPr lang="en-US" dirty="0" err="1"/>
              <a:t>usa</a:t>
            </a:r>
            <a:r>
              <a:rPr lang="en-US" dirty="0"/>
              <a:t>&gt;&gt;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8" hasCustomPrompt="1"/>
            <p:custDataLst>
              <p:tags r:id="rId17"/>
            </p:custDataLst>
          </p:nvPr>
        </p:nvSpPr>
        <p:spPr>
          <a:xfrm>
            <a:off x="10210350" y="3799468"/>
            <a:ext cx="2077688" cy="698981"/>
          </a:xfrm>
        </p:spPr>
        <p:txBody>
          <a:bodyPr>
            <a:normAutofit/>
          </a:bodyPr>
          <a:lstStyle>
            <a:lvl1pPr>
              <a:defRPr sz="2309"/>
            </a:lvl1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international</a:t>
            </a:r>
            <a:r>
              <a:rPr lang="en-US" dirty="0"/>
              <a:t> locations&gt;&gt;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9" hasCustomPrompt="1"/>
            <p:custDataLst>
              <p:tags r:id="rId18"/>
            </p:custDataLst>
          </p:nvPr>
        </p:nvSpPr>
        <p:spPr>
          <a:xfrm>
            <a:off x="771713" y="3799467"/>
            <a:ext cx="2831591" cy="641160"/>
          </a:xfrm>
        </p:spPr>
        <p:txBody>
          <a:bodyPr>
            <a:normAutofit/>
          </a:bodyPr>
          <a:lstStyle>
            <a:lvl1pPr>
              <a:defRPr sz="2309"/>
            </a:lvl1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employees</a:t>
            </a:r>
            <a:r>
              <a:rPr lang="en-US" dirty="0"/>
              <a:t> and counting&gt;&gt;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4256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to 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con">
            <a:extLst>
              <a:ext uri="{FF2B5EF4-FFF2-40B4-BE49-F238E27FC236}">
                <a16:creationId xmlns:a16="http://schemas.microsoft.com/office/drawing/2014/main" id="{3908C156-6DC8-4094-B4CB-B83C5CFB9BD4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14057309" y="7910072"/>
            <a:ext cx="5342625" cy="2671500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Column 2">
            <a:extLst>
              <a:ext uri="{FF2B5EF4-FFF2-40B4-BE49-F238E27FC236}">
                <a16:creationId xmlns:a16="http://schemas.microsoft.com/office/drawing/2014/main" id="{391742AE-12F4-4120-AE89-D85D6107FC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350473" y="2911486"/>
            <a:ext cx="9049462" cy="42418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lumn 1">
            <a:extLst>
              <a:ext uri="{FF2B5EF4-FFF2-40B4-BE49-F238E27FC236}">
                <a16:creationId xmlns:a16="http://schemas.microsoft.com/office/drawing/2014/main" id="{6D44712E-64B1-4ED6-8513-E2984438965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725110" y="2911485"/>
            <a:ext cx="9049462" cy="7413907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277"/>
            </a:lvl1pPr>
          </a:lstStyle>
          <a:p>
            <a:pPr lvl="0"/>
            <a:r>
              <a:rPr lang="en-US" dirty="0"/>
              <a:t>&lt;&lt;Boilerplate&gt;&gt;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Relationship">
            <a:extLst>
              <a:ext uri="{FF2B5EF4-FFF2-40B4-BE49-F238E27FC236}">
                <a16:creationId xmlns:a16="http://schemas.microsoft.com/office/drawing/2014/main" id="{0199CF85-1BDD-4404-9914-B2B0FB059A62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732635" y="10649638"/>
            <a:ext cx="14543895" cy="432483"/>
          </a:xfrm>
        </p:spPr>
        <p:txBody>
          <a:bodyPr lIns="90000" tIns="46800" rIns="90000" bIns="46800"/>
          <a:lstStyle>
            <a:lvl1pPr>
              <a:spcAft>
                <a:spcPts val="0"/>
              </a:spcAft>
              <a:defRPr sz="1319"/>
            </a:lvl1pPr>
          </a:lstStyle>
          <a:p>
            <a:pPr lvl="0"/>
            <a:r>
              <a:rPr lang="en-GB" dirty="0"/>
              <a:t>&lt;&lt;</a:t>
            </a:r>
            <a:r>
              <a:rPr lang="en-GB" dirty="0" err="1"/>
              <a:t>Labels.Relationship</a:t>
            </a:r>
            <a:r>
              <a:rPr lang="en-GB" dirty="0"/>
              <a:t> Firm&gt;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94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ntry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G 1">
            <a:extLst>
              <a:ext uri="{FF2B5EF4-FFF2-40B4-BE49-F238E27FC236}">
                <a16:creationId xmlns:a16="http://schemas.microsoft.com/office/drawing/2014/main" id="{BE0B3D45-1498-4296-A210-28229125E686}"/>
              </a:ext>
            </a:extLst>
          </p:cNvPr>
          <p:cNvSpPr/>
          <p:nvPr userDrawn="1"/>
        </p:nvSpPr>
        <p:spPr>
          <a:xfrm>
            <a:off x="724223" y="2911485"/>
            <a:ext cx="18663570" cy="741390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638" dirty="0" err="1"/>
          </a:p>
        </p:txBody>
      </p:sp>
      <p:cxnSp>
        <p:nvCxnSpPr>
          <p:cNvPr id="16" name="Divider 2">
            <a:extLst>
              <a:ext uri="{FF2B5EF4-FFF2-40B4-BE49-F238E27FC236}">
                <a16:creationId xmlns:a16="http://schemas.microsoft.com/office/drawing/2014/main" id="{87C481D0-54CD-4CF3-BAAA-4C5E5814EF47}"/>
              </a:ext>
            </a:extLst>
          </p:cNvPr>
          <p:cNvCxnSpPr>
            <a:cxnSpLocks/>
          </p:cNvCxnSpPr>
          <p:nvPr userDrawn="1"/>
        </p:nvCxnSpPr>
        <p:spPr>
          <a:xfrm>
            <a:off x="11486644" y="3192294"/>
            <a:ext cx="0" cy="6852289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lag 1">
            <a:extLst>
              <a:ext uri="{FF2B5EF4-FFF2-40B4-BE49-F238E27FC236}">
                <a16:creationId xmlns:a16="http://schemas.microsoft.com/office/drawing/2014/main" id="{2A251C43-001C-4259-8587-F8EB8E8D015D}"/>
              </a:ext>
            </a:extLst>
          </p:cNvPr>
          <p:cNvSpPr>
            <a:spLocks noGrp="1" noChangeAspect="1"/>
          </p:cNvSpPr>
          <p:nvPr>
            <p:ph type="pic" sz="quarter" idx="59" hasCustomPrompt="1"/>
            <p:custDataLst>
              <p:tags r:id="rId1"/>
            </p:custDataLst>
          </p:nvPr>
        </p:nvSpPr>
        <p:spPr>
          <a:xfrm>
            <a:off x="18313331" y="7622680"/>
            <a:ext cx="866693" cy="2707120"/>
          </a:xfrm>
        </p:spPr>
        <p:txBody>
          <a:bodyPr/>
          <a:lstStyle>
            <a:lvl1pPr>
              <a:defRPr sz="1979"/>
            </a:lvl1pPr>
          </a:lstStyle>
          <a:p>
            <a:r>
              <a:rPr lang="en-GB" dirty="0"/>
              <a:t>&lt;&lt;Flag 1&gt;&gt;</a:t>
            </a:r>
            <a:endParaRPr lang="en-US" dirty="0"/>
          </a:p>
        </p:txBody>
      </p:sp>
      <p:sp>
        <p:nvSpPr>
          <p:cNvPr id="22" name="Pic 1">
            <a:extLst>
              <a:ext uri="{FF2B5EF4-FFF2-40B4-BE49-F238E27FC236}">
                <a16:creationId xmlns:a16="http://schemas.microsoft.com/office/drawing/2014/main" id="{6610673E-0FDD-4E8F-85ED-F1097F75CA6A}"/>
              </a:ext>
            </a:extLst>
          </p:cNvPr>
          <p:cNvSpPr>
            <a:spLocks noGrp="1"/>
          </p:cNvSpPr>
          <p:nvPr>
            <p:ph type="pic" sz="quarter" idx="61"/>
            <p:custDataLst>
              <p:tags r:id="rId2"/>
            </p:custDataLst>
          </p:nvPr>
        </p:nvSpPr>
        <p:spPr>
          <a:xfrm>
            <a:off x="908246" y="8459750"/>
            <a:ext cx="1484063" cy="1484167"/>
          </a:xfrm>
        </p:spPr>
        <p:txBody>
          <a:bodyPr/>
          <a:lstStyle>
            <a:lvl1pPr>
              <a:defRPr sz="197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Relationship 1">
            <a:extLst>
              <a:ext uri="{FF2B5EF4-FFF2-40B4-BE49-F238E27FC236}">
                <a16:creationId xmlns:a16="http://schemas.microsoft.com/office/drawing/2014/main" id="{B3AB4B4F-690A-4E8B-B3EF-E0F25B1FE162}"/>
              </a:ext>
            </a:extLst>
          </p:cNvPr>
          <p:cNvSpPr>
            <a:spLocks noGrp="1"/>
          </p:cNvSpPr>
          <p:nvPr>
            <p:ph type="body" sz="quarter" idx="67" hasCustomPrompt="1"/>
            <p:custDataLst>
              <p:tags r:id="rId3"/>
            </p:custDataLst>
          </p:nvPr>
        </p:nvSpPr>
        <p:spPr>
          <a:xfrm>
            <a:off x="11890309" y="9730196"/>
            <a:ext cx="6215254" cy="595195"/>
          </a:xfrm>
        </p:spPr>
        <p:txBody>
          <a:bodyPr>
            <a:normAutofit/>
          </a:bodyPr>
          <a:lstStyle>
            <a:lvl1pPr>
              <a:defRPr sz="1319"/>
            </a:lvl1pPr>
          </a:lstStyle>
          <a:p>
            <a:pPr lvl="0"/>
            <a:r>
              <a:rPr lang="en-GB" sz="1319" dirty="0"/>
              <a:t>&lt;&lt;Relationship 1&gt;&gt;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68" hasCustomPrompt="1"/>
            <p:custDataLst>
              <p:tags r:id="rId4"/>
            </p:custDataLst>
          </p:nvPr>
        </p:nvSpPr>
        <p:spPr>
          <a:xfrm>
            <a:off x="2499161" y="8459749"/>
            <a:ext cx="5831185" cy="342069"/>
          </a:xfrm>
        </p:spPr>
        <p:txBody>
          <a:bodyPr/>
          <a:lstStyle>
            <a:lvl1pPr>
              <a:defRPr sz="2638" b="1"/>
            </a:lvl1pPr>
            <a:lvl2pPr>
              <a:defRPr sz="1649"/>
            </a:lvl2pPr>
            <a:lvl3pPr>
              <a:defRPr sz="1649"/>
            </a:lvl3pPr>
            <a:lvl4pPr>
              <a:defRPr sz="1649"/>
            </a:lvl4pPr>
            <a:lvl5pPr>
              <a:defRPr sz="1649"/>
            </a:lvl5pPr>
          </a:lstStyle>
          <a:p>
            <a:pPr lvl="0"/>
            <a:r>
              <a:rPr lang="en-US" dirty="0"/>
              <a:t>&lt;&lt;C1 </a:t>
            </a:r>
            <a:r>
              <a:rPr lang="en-US" dirty="0" err="1"/>
              <a:t>PartnerName</a:t>
            </a:r>
            <a:r>
              <a:rPr lang="en-US" dirty="0"/>
              <a:t>&gt;&gt;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69" hasCustomPrompt="1"/>
            <p:custDataLst>
              <p:tags r:id="rId5"/>
            </p:custDataLst>
          </p:nvPr>
        </p:nvSpPr>
        <p:spPr>
          <a:xfrm>
            <a:off x="2499161" y="8806227"/>
            <a:ext cx="5831185" cy="351470"/>
          </a:xfrm>
        </p:spPr>
        <p:txBody>
          <a:bodyPr/>
          <a:lstStyle>
            <a:lvl1pPr>
              <a:defRPr sz="2638"/>
            </a:lvl1pPr>
            <a:lvl2pPr>
              <a:defRPr sz="1649"/>
            </a:lvl2pPr>
            <a:lvl3pPr>
              <a:defRPr sz="1649"/>
            </a:lvl3pPr>
            <a:lvl4pPr>
              <a:defRPr sz="1649"/>
            </a:lvl4pPr>
            <a:lvl5pPr>
              <a:defRPr sz="1649"/>
            </a:lvl5pPr>
          </a:lstStyle>
          <a:p>
            <a:pPr lvl="0"/>
            <a:r>
              <a:rPr lang="en-US" dirty="0"/>
              <a:t>&lt;&lt;C1 </a:t>
            </a:r>
            <a:r>
              <a:rPr lang="en-US" dirty="0" err="1"/>
              <a:t>PartnerPosition</a:t>
            </a:r>
            <a:r>
              <a:rPr lang="en-US" dirty="0"/>
              <a:t>&gt;&gt;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70" hasCustomPrompt="1"/>
            <p:custDataLst>
              <p:tags r:id="rId6"/>
            </p:custDataLst>
          </p:nvPr>
        </p:nvSpPr>
        <p:spPr>
          <a:xfrm>
            <a:off x="2499161" y="9363889"/>
            <a:ext cx="5831185" cy="379447"/>
          </a:xfrm>
        </p:spPr>
        <p:txBody>
          <a:bodyPr/>
          <a:lstStyle>
            <a:lvl1pPr>
              <a:defRPr sz="1979" b="1"/>
            </a:lvl1pPr>
            <a:lvl2pPr>
              <a:defRPr sz="1649"/>
            </a:lvl2pPr>
            <a:lvl3pPr>
              <a:defRPr sz="1649"/>
            </a:lvl3pPr>
            <a:lvl4pPr>
              <a:defRPr sz="1649"/>
            </a:lvl4pPr>
            <a:lvl5pPr>
              <a:defRPr sz="1649"/>
            </a:lvl5pPr>
          </a:lstStyle>
          <a:p>
            <a:pPr lvl="0"/>
            <a:r>
              <a:rPr lang="en-US" dirty="0"/>
              <a:t>&lt;&lt;C1 </a:t>
            </a:r>
            <a:r>
              <a:rPr lang="en-US" dirty="0" err="1"/>
              <a:t>PartnerTelephone</a:t>
            </a:r>
            <a:r>
              <a:rPr lang="en-US" dirty="0"/>
              <a:t>&gt;&gt;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71" hasCustomPrompt="1"/>
            <p:custDataLst>
              <p:tags r:id="rId7"/>
            </p:custDataLst>
          </p:nvPr>
        </p:nvSpPr>
        <p:spPr>
          <a:xfrm>
            <a:off x="2499161" y="9656316"/>
            <a:ext cx="5831185" cy="376650"/>
          </a:xfrm>
        </p:spPr>
        <p:txBody>
          <a:bodyPr/>
          <a:lstStyle>
            <a:lvl1pPr>
              <a:defRPr sz="1979">
                <a:solidFill>
                  <a:srgbClr val="FB5A17"/>
                </a:solidFill>
              </a:defRPr>
            </a:lvl1pPr>
            <a:lvl2pPr>
              <a:defRPr sz="1649"/>
            </a:lvl2pPr>
            <a:lvl3pPr>
              <a:defRPr sz="1649"/>
            </a:lvl3pPr>
            <a:lvl4pPr>
              <a:defRPr sz="1649"/>
            </a:lvl4pPr>
            <a:lvl5pPr>
              <a:defRPr sz="1649"/>
            </a:lvl5pPr>
          </a:lstStyle>
          <a:p>
            <a:pPr lvl="0"/>
            <a:r>
              <a:rPr lang="en-US" dirty="0"/>
              <a:t>&lt;&lt;C1 </a:t>
            </a:r>
            <a:r>
              <a:rPr lang="en-US" dirty="0" err="1"/>
              <a:t>PartnerEmail</a:t>
            </a:r>
            <a:r>
              <a:rPr lang="en-US" dirty="0"/>
              <a:t>&gt;&gt;</a:t>
            </a:r>
            <a:endParaRPr lang="en-GB" dirty="0"/>
          </a:p>
        </p:txBody>
      </p:sp>
      <p:sp>
        <p:nvSpPr>
          <p:cNvPr id="18" name="Title 91">
            <a:extLst>
              <a:ext uri="{FF2B5EF4-FFF2-40B4-BE49-F238E27FC236}">
                <a16:creationId xmlns:a16="http://schemas.microsoft.com/office/drawing/2014/main" id="{1014C20F-C9B0-43E2-8E2C-C25C3B23DB0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724701" y="1058996"/>
            <a:ext cx="18660935" cy="71056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&lt;&lt;</a:t>
            </a:r>
            <a:r>
              <a:rPr lang="en-GB" dirty="0" err="1"/>
              <a:t>Labels.Country</a:t>
            </a:r>
            <a:r>
              <a:rPr lang="en-GB" dirty="0"/>
              <a:t> Overview&gt;&gt;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73" hasCustomPrompt="1"/>
            <p:custDataLst>
              <p:tags r:id="rId9"/>
            </p:custDataLst>
          </p:nvPr>
        </p:nvSpPr>
        <p:spPr>
          <a:xfrm>
            <a:off x="861651" y="3160998"/>
            <a:ext cx="5942227" cy="531434"/>
          </a:xfrm>
        </p:spPr>
        <p:txBody>
          <a:bodyPr/>
          <a:lstStyle>
            <a:lvl1pPr>
              <a:defRPr sz="2638" b="1" baseline="0"/>
            </a:lvl1pPr>
          </a:lstStyle>
          <a:p>
            <a:pPr lvl="0"/>
            <a:r>
              <a:rPr lang="en-US" dirty="0"/>
              <a:t>Country name</a:t>
            </a:r>
            <a:endParaRPr lang="en-GB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74" hasCustomPrompt="1"/>
            <p:custDataLst>
              <p:tags r:id="rId10"/>
            </p:custDataLst>
          </p:nvPr>
        </p:nvSpPr>
        <p:spPr>
          <a:xfrm>
            <a:off x="861230" y="3635982"/>
            <a:ext cx="10221749" cy="4531339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660"/>
              </a:spcAft>
              <a:buFont typeface="Arial" panose="020B0604020202020204" pitchFamily="34" charset="0"/>
              <a:buNone/>
              <a:defRPr sz="2638"/>
            </a:lvl1pPr>
          </a:lstStyle>
          <a:p>
            <a:pPr lvl="0"/>
            <a:r>
              <a:rPr lang="en-US" dirty="0"/>
              <a:t>overview info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75" hasCustomPrompt="1"/>
            <p:custDataLst>
              <p:tags r:id="rId11"/>
            </p:custDataLst>
          </p:nvPr>
        </p:nvSpPr>
        <p:spPr>
          <a:xfrm>
            <a:off x="11892225" y="3160997"/>
            <a:ext cx="7377868" cy="474984"/>
          </a:xfrm>
        </p:spPr>
        <p:txBody>
          <a:bodyPr/>
          <a:lstStyle>
            <a:lvl1pPr>
              <a:defRPr sz="2638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Key clients: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76" hasCustomPrompt="1"/>
            <p:custDataLst>
              <p:tags r:id="rId12"/>
            </p:custDataLst>
          </p:nvPr>
        </p:nvSpPr>
        <p:spPr>
          <a:xfrm>
            <a:off x="11889690" y="3691247"/>
            <a:ext cx="7290355" cy="3932093"/>
          </a:xfrm>
        </p:spPr>
        <p:txBody>
          <a:bodyPr numCol="2">
            <a:normAutofit/>
          </a:bodyPr>
          <a:lstStyle>
            <a:lvl1pPr marL="471202" indent="-471202">
              <a:spcBef>
                <a:spcPts val="0"/>
              </a:spcBef>
              <a:spcAft>
                <a:spcPts val="660"/>
              </a:spcAft>
              <a:buFont typeface="Arial" panose="020B0604020202020204" pitchFamily="34" charset="0"/>
              <a:buChar char="•"/>
              <a:defRPr sz="263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ent li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2280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+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con">
            <a:extLst>
              <a:ext uri="{FF2B5EF4-FFF2-40B4-BE49-F238E27FC236}">
                <a16:creationId xmlns:a16="http://schemas.microsoft.com/office/drawing/2014/main" id="{C8DB662F-0589-40C5-A2B4-DA5831F7143A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620828" y="7673366"/>
            <a:ext cx="5758163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">
            <a:extLst>
              <a:ext uri="{FF2B5EF4-FFF2-40B4-BE49-F238E27FC236}">
                <a16:creationId xmlns:a16="http://schemas.microsoft.com/office/drawing/2014/main" id="{B6762EBE-F110-4F3D-AF44-81F12A23C2A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10" y="2911485"/>
            <a:ext cx="12265254" cy="5786029"/>
          </a:xfrm>
        </p:spPr>
        <p:txBody>
          <a:bodyPr>
            <a:noAutofit/>
          </a:bodyPr>
          <a:lstStyle>
            <a:lvl1pPr>
              <a:defRPr sz="7915"/>
            </a:lvl1pPr>
            <a:lvl2pPr marL="1187280" indent="-1187280">
              <a:buClr>
                <a:schemeClr val="tx1"/>
              </a:buClr>
              <a:buFont typeface="Arial" panose="020B0604020202020204" pitchFamily="34" charset="0"/>
              <a:buChar char="•"/>
              <a:defRPr sz="7915" b="0"/>
            </a:lvl2pPr>
            <a:lvl3pPr marL="2374560" indent="-1187280">
              <a:buFont typeface="Arial" panose="020B0604020202020204" pitchFamily="34" charset="0"/>
              <a:buChar char="‒"/>
              <a:defRPr sz="7915" b="0"/>
            </a:lvl3pPr>
            <a:lvl4pPr marL="1187280" indent="-1187280">
              <a:buFont typeface="+mj-lt"/>
              <a:buAutoNum type="arabicPeriod"/>
              <a:defRPr sz="6596"/>
            </a:lvl4pPr>
            <a:lvl5pPr marL="2412405" indent="-1225125">
              <a:buFont typeface="+mj-lt"/>
              <a:buAutoNum type="alphaLcPeriod"/>
              <a:defRPr sz="6596"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1B0267BB-9474-49C7-A9C3-2EDED1ADA8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450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835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+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con">
            <a:extLst>
              <a:ext uri="{FF2B5EF4-FFF2-40B4-BE49-F238E27FC236}">
                <a16:creationId xmlns:a16="http://schemas.microsoft.com/office/drawing/2014/main" id="{271A47C4-966D-4E67-BA94-AB437FB2C42B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541716" y="7673366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F7317522-2056-4200-A3F5-850E5D1064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09" y="2911485"/>
            <a:ext cx="11813138" cy="7480200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0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+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">
            <a:extLst>
              <a:ext uri="{FF2B5EF4-FFF2-40B4-BE49-F238E27FC236}">
                <a16:creationId xmlns:a16="http://schemas.microsoft.com/office/drawing/2014/main" id="{F7317522-2056-4200-A3F5-850E5D1064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09" y="2911485"/>
            <a:ext cx="11813138" cy="7480200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Icon">
            <a:extLst>
              <a:ext uri="{FF2B5EF4-FFF2-40B4-BE49-F238E27FC236}">
                <a16:creationId xmlns:a16="http://schemas.microsoft.com/office/drawing/2014/main" id="{271A47C4-966D-4E67-BA94-AB437FB2C42B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531177" y="2910273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37"/>
            <p:custDataLst>
              <p:tags r:id="rId2"/>
            </p:custDataLst>
          </p:nvPr>
        </p:nvSpPr>
        <p:spPr>
          <a:xfrm>
            <a:off x="13528714" y="5829807"/>
            <a:ext cx="5847206" cy="442281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Quote text">
            <a:extLst>
              <a:ext uri="{FF2B5EF4-FFF2-40B4-BE49-F238E27FC236}">
                <a16:creationId xmlns:a16="http://schemas.microsoft.com/office/drawing/2014/main" id="{DA1100AF-B44D-448A-BAD8-54B0F4AB57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525033" y="5827456"/>
            <a:ext cx="5860602" cy="4421643"/>
          </a:xfrm>
        </p:spPr>
        <p:txBody>
          <a:bodyPr tIns="146304" bIns="146304"/>
          <a:lstStyle>
            <a:lvl1pPr>
              <a:spcBef>
                <a:spcPts val="989"/>
              </a:spcBef>
              <a:spcAft>
                <a:spcPts val="989"/>
              </a:spcAft>
              <a:defRPr sz="5277" baseline="0">
                <a:solidFill>
                  <a:schemeClr val="accent1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5277" b="0" baseline="0">
                <a:solidFill>
                  <a:schemeClr val="accent1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Font typeface="Arial" panose="020B0604020202020204" pitchFamily="34" charset="0"/>
              <a:buChar char="‒"/>
              <a:defRPr sz="5277" baseline="0">
                <a:solidFill>
                  <a:schemeClr val="accent1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None/>
              <a:defRPr sz="3298" baseline="0">
                <a:solidFill>
                  <a:schemeClr val="accent1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None/>
              <a:defRPr sz="3298" baseline="0">
                <a:solidFill>
                  <a:schemeClr val="accent1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None/>
              <a:defRPr sz="3298"/>
            </a:lvl6pPr>
            <a:lvl7pPr marL="0" indent="0">
              <a:spcBef>
                <a:spcPts val="989"/>
              </a:spcBef>
              <a:spcAft>
                <a:spcPts val="989"/>
              </a:spcAft>
              <a:buNone/>
              <a:defRPr sz="3298"/>
            </a:lvl7pPr>
            <a:lvl8pPr marL="0" indent="0">
              <a:spcBef>
                <a:spcPts val="989"/>
              </a:spcBef>
              <a:spcAft>
                <a:spcPts val="989"/>
              </a:spcAft>
              <a:buNone/>
              <a:defRPr sz="3298"/>
            </a:lvl8pPr>
            <a:lvl9pPr>
              <a:spcBef>
                <a:spcPts val="989"/>
              </a:spcBef>
              <a:spcAft>
                <a:spcPts val="989"/>
              </a:spcAft>
              <a:defRPr sz="3298"/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878035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+ highligh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">
            <a:extLst>
              <a:ext uri="{FF2B5EF4-FFF2-40B4-BE49-F238E27FC236}">
                <a16:creationId xmlns:a16="http://schemas.microsoft.com/office/drawing/2014/main" id="{F7317522-2056-4200-A3F5-850E5D1064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09" y="2911485"/>
            <a:ext cx="11813138" cy="7480200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Icon">
            <a:extLst>
              <a:ext uri="{FF2B5EF4-FFF2-40B4-BE49-F238E27FC236}">
                <a16:creationId xmlns:a16="http://schemas.microsoft.com/office/drawing/2014/main" id="{271A47C4-966D-4E67-BA94-AB437FB2C42B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531176" y="2918013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37"/>
            <p:custDataLst>
              <p:tags r:id="rId2"/>
            </p:custDataLst>
          </p:nvPr>
        </p:nvSpPr>
        <p:spPr>
          <a:xfrm>
            <a:off x="13528714" y="5829807"/>
            <a:ext cx="5847206" cy="442281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Quote text">
            <a:extLst>
              <a:ext uri="{FF2B5EF4-FFF2-40B4-BE49-F238E27FC236}">
                <a16:creationId xmlns:a16="http://schemas.microsoft.com/office/drawing/2014/main" id="{DA1100AF-B44D-448A-BAD8-54B0F4AB57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525033" y="5827456"/>
            <a:ext cx="5860602" cy="4421643"/>
          </a:xfrm>
        </p:spPr>
        <p:txBody>
          <a:bodyPr tIns="146304" bIns="146304"/>
          <a:lstStyle>
            <a:lvl1pPr>
              <a:spcBef>
                <a:spcPts val="989"/>
              </a:spcBef>
              <a:spcAft>
                <a:spcPts val="989"/>
              </a:spcAft>
              <a:defRPr sz="5277" baseline="0">
                <a:solidFill>
                  <a:srgbClr val="FB5A17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rgbClr val="FB5A17"/>
              </a:buClr>
              <a:buFont typeface="Arial" panose="020B0604020202020204" pitchFamily="34" charset="0"/>
              <a:buChar char="•"/>
              <a:defRPr sz="5277" b="0" baseline="0">
                <a:solidFill>
                  <a:srgbClr val="FB5A17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Clr>
                <a:srgbClr val="FB5A17"/>
              </a:buClr>
              <a:buFont typeface="Arial" panose="020B0604020202020204" pitchFamily="34" charset="0"/>
              <a:buChar char="‒"/>
              <a:defRPr sz="5277" baseline="0">
                <a:solidFill>
                  <a:srgbClr val="FB5A17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Clr>
                <a:srgbClr val="FB5A17"/>
              </a:buClr>
              <a:buNone/>
              <a:defRPr sz="3298" baseline="0">
                <a:solidFill>
                  <a:srgbClr val="FB5A17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Clr>
                <a:srgbClr val="FB5A17"/>
              </a:buClr>
              <a:buNone/>
              <a:defRPr sz="3298" baseline="0">
                <a:solidFill>
                  <a:srgbClr val="FB5A17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rgbClr val="FB5A17"/>
                </a:solidFill>
              </a:defRPr>
            </a:lvl6pPr>
            <a:lvl7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rgbClr val="FB5A17"/>
                </a:solidFill>
              </a:defRPr>
            </a:lvl7pPr>
            <a:lvl8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rgbClr val="FB5A17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 sz="3298">
                <a:solidFill>
                  <a:srgbClr val="FB5A17"/>
                </a:solidFill>
              </a:defRPr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426887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089" cy="11308556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837670" y="523544"/>
            <a:ext cx="157480" cy="1151890"/>
          </a:xfrm>
          <a:custGeom>
            <a:avLst/>
            <a:gdLst/>
            <a:ahLst/>
            <a:cxnLst/>
            <a:rect l="l" t="t" r="r" b="b"/>
            <a:pathLst>
              <a:path w="157480" h="1151889">
                <a:moveTo>
                  <a:pt x="0" y="1151797"/>
                </a:moveTo>
                <a:lnTo>
                  <a:pt x="157063" y="1151797"/>
                </a:lnTo>
                <a:lnTo>
                  <a:pt x="157063" y="0"/>
                </a:lnTo>
                <a:lnTo>
                  <a:pt x="0" y="0"/>
                </a:lnTo>
                <a:lnTo>
                  <a:pt x="0" y="1151797"/>
                </a:lnTo>
                <a:close/>
              </a:path>
            </a:pathLst>
          </a:custGeom>
          <a:solidFill>
            <a:srgbClr val="96E3D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100" b="1" i="0">
                <a:solidFill>
                  <a:srgbClr val="96E3D6"/>
                </a:solidFill>
                <a:latin typeface="Quicksand-SemiBold"/>
                <a:cs typeface="Quicksand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2828154" y="3991616"/>
            <a:ext cx="6690995" cy="69989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950" b="1" i="0">
                <a:solidFill>
                  <a:schemeClr val="bg1"/>
                </a:solidFill>
                <a:latin typeface="Quicksand-SemiBold"/>
                <a:cs typeface="Quicksand-SemiBold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492999" y="3946749"/>
            <a:ext cx="6690994" cy="69799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950" b="1" i="0">
                <a:solidFill>
                  <a:schemeClr val="bg1"/>
                </a:solidFill>
                <a:latin typeface="Quicksand-SemiBold"/>
                <a:cs typeface="Quicksand-SemiBold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4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+ key msg cl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con">
            <a:extLst>
              <a:ext uri="{FF2B5EF4-FFF2-40B4-BE49-F238E27FC236}">
                <a16:creationId xmlns:a16="http://schemas.microsoft.com/office/drawing/2014/main" id="{7D79DA65-C0CC-44B5-B9CB-113A6E2EB660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560859" y="2911485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Key message">
            <a:extLst>
              <a:ext uri="{FF2B5EF4-FFF2-40B4-BE49-F238E27FC236}">
                <a16:creationId xmlns:a16="http://schemas.microsoft.com/office/drawing/2014/main" id="{3B50F530-8122-4170-B3AA-EFD94F5DE2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31177" y="5812060"/>
            <a:ext cx="5876888" cy="4770596"/>
          </a:xfrm>
          <a:solidFill>
            <a:schemeClr val="accent1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sz="5277" b="0">
                <a:solidFill>
                  <a:schemeClr val="bg1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5277" b="0">
                <a:solidFill>
                  <a:schemeClr val="bg1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5277">
                <a:solidFill>
                  <a:schemeClr val="bg1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chemeClr val="bg1"/>
                </a:solidFill>
              </a:defRPr>
            </a:lvl6pPr>
            <a:lvl7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chemeClr val="bg1"/>
                </a:solidFill>
              </a:defRPr>
            </a:lvl7pPr>
            <a:lvl8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 sz="329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F7317522-2056-4200-A3F5-850E5D1064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09" y="2911485"/>
            <a:ext cx="1181313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149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+ key msg cl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con">
            <a:extLst>
              <a:ext uri="{FF2B5EF4-FFF2-40B4-BE49-F238E27FC236}">
                <a16:creationId xmlns:a16="http://schemas.microsoft.com/office/drawing/2014/main" id="{7D79DA65-C0CC-44B5-B9CB-113A6E2EB660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561465" y="2911485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Key message">
            <a:extLst>
              <a:ext uri="{FF2B5EF4-FFF2-40B4-BE49-F238E27FC236}">
                <a16:creationId xmlns:a16="http://schemas.microsoft.com/office/drawing/2014/main" id="{3B50F530-8122-4170-B3AA-EFD94F5DE2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31177" y="5812060"/>
            <a:ext cx="5876888" cy="4770596"/>
          </a:xfrm>
          <a:solidFill>
            <a:schemeClr val="accent2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sz="5277" b="0">
                <a:solidFill>
                  <a:schemeClr val="bg1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5277" b="0">
                <a:solidFill>
                  <a:schemeClr val="bg1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5277">
                <a:solidFill>
                  <a:schemeClr val="bg1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chemeClr val="bg1"/>
                </a:solidFill>
              </a:defRPr>
            </a:lvl6pPr>
            <a:lvl7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chemeClr val="bg1"/>
                </a:solidFill>
              </a:defRPr>
            </a:lvl7pPr>
            <a:lvl8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 sz="329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  <a:p>
            <a:pPr lvl="4"/>
            <a:endParaRPr lang="en-US" dirty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F7317522-2056-4200-A3F5-850E5D1064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09" y="2911485"/>
            <a:ext cx="1181313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6724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+ key msg cl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con">
            <a:extLst>
              <a:ext uri="{FF2B5EF4-FFF2-40B4-BE49-F238E27FC236}">
                <a16:creationId xmlns:a16="http://schemas.microsoft.com/office/drawing/2014/main" id="{7D79DA65-C0CC-44B5-B9CB-113A6E2EB660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559811" y="2911485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Key message">
            <a:extLst>
              <a:ext uri="{FF2B5EF4-FFF2-40B4-BE49-F238E27FC236}">
                <a16:creationId xmlns:a16="http://schemas.microsoft.com/office/drawing/2014/main" id="{3B50F530-8122-4170-B3AA-EFD94F5DE2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31177" y="5812060"/>
            <a:ext cx="5876888" cy="4770596"/>
          </a:xfrm>
          <a:solidFill>
            <a:schemeClr val="accent3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sz="5277" b="0">
                <a:solidFill>
                  <a:schemeClr val="bg1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5277" b="0">
                <a:solidFill>
                  <a:schemeClr val="bg1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5277">
                <a:solidFill>
                  <a:schemeClr val="bg1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chemeClr val="bg1"/>
                </a:solidFill>
              </a:defRPr>
            </a:lvl6pPr>
            <a:lvl7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chemeClr val="bg1"/>
                </a:solidFill>
              </a:defRPr>
            </a:lvl7pPr>
            <a:lvl8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 sz="329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  <a:p>
            <a:pPr lvl="4"/>
            <a:endParaRPr lang="en-US" dirty="0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F7317522-2056-4200-A3F5-850E5D1064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09" y="2911485"/>
            <a:ext cx="1181313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6643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right">
            <a:extLst>
              <a:ext uri="{FF2B5EF4-FFF2-40B4-BE49-F238E27FC236}">
                <a16:creationId xmlns:a16="http://schemas.microsoft.com/office/drawing/2014/main" id="{391742AE-12F4-4120-AE89-D85D6107FC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350473" y="2911485"/>
            <a:ext cx="9049462" cy="4743397"/>
          </a:xfrm>
        </p:spPr>
        <p:txBody>
          <a:bodyPr lIns="0" tIns="0" rIns="0" bIns="0"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left">
            <a:extLst>
              <a:ext uri="{FF2B5EF4-FFF2-40B4-BE49-F238E27FC236}">
                <a16:creationId xmlns:a16="http://schemas.microsoft.com/office/drawing/2014/main" id="{6D44712E-64B1-4ED6-8513-E298443896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10" y="2911485"/>
            <a:ext cx="9049462" cy="4743397"/>
          </a:xfrm>
        </p:spPr>
        <p:txBody>
          <a:bodyPr lIns="0" tIns="0" rIns="0" bIns="0"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3879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+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con">
            <a:extLst>
              <a:ext uri="{FF2B5EF4-FFF2-40B4-BE49-F238E27FC236}">
                <a16:creationId xmlns:a16="http://schemas.microsoft.com/office/drawing/2014/main" id="{5E952EC9-C8A2-4A99-B5FE-B5161C3C7574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582409" y="7673366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right">
            <a:extLst>
              <a:ext uri="{FF2B5EF4-FFF2-40B4-BE49-F238E27FC236}">
                <a16:creationId xmlns:a16="http://schemas.microsoft.com/office/drawing/2014/main" id="{391742AE-12F4-4120-AE89-D85D6107FC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350473" y="2911483"/>
            <a:ext cx="9049462" cy="4743397"/>
          </a:xfrm>
        </p:spPr>
        <p:txBody>
          <a:bodyPr lIns="0" tIns="0" rIns="0" bIns="0"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left">
            <a:extLst>
              <a:ext uri="{FF2B5EF4-FFF2-40B4-BE49-F238E27FC236}">
                <a16:creationId xmlns:a16="http://schemas.microsoft.com/office/drawing/2014/main" id="{6D44712E-64B1-4ED6-8513-E298443896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10" y="2911485"/>
            <a:ext cx="9049462" cy="4743397"/>
          </a:xfrm>
        </p:spPr>
        <p:txBody>
          <a:bodyPr lIns="0" tIns="0" rIns="0" bIns="0"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8177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inc key msg cl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right">
            <a:extLst>
              <a:ext uri="{FF2B5EF4-FFF2-40B4-BE49-F238E27FC236}">
                <a16:creationId xmlns:a16="http://schemas.microsoft.com/office/drawing/2014/main" id="{391742AE-12F4-4120-AE89-D85D6107FC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350473" y="2911485"/>
            <a:ext cx="9049462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Icon">
            <a:extLst>
              <a:ext uri="{FF2B5EF4-FFF2-40B4-BE49-F238E27FC236}">
                <a16:creationId xmlns:a16="http://schemas.microsoft.com/office/drawing/2014/main" id="{194569C9-0DA2-4C7A-B9A9-49B53CA5ADC7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3966662" y="4660283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Key text">
            <a:extLst>
              <a:ext uri="{FF2B5EF4-FFF2-40B4-BE49-F238E27FC236}">
                <a16:creationId xmlns:a16="http://schemas.microsoft.com/office/drawing/2014/main" id="{016969B2-5C8A-47AB-83BC-85561D117C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6052" y="7554647"/>
            <a:ext cx="9049462" cy="3015827"/>
          </a:xfrm>
          <a:solidFill>
            <a:schemeClr val="accent1"/>
          </a:solidFill>
          <a:ln>
            <a:noFill/>
          </a:ln>
        </p:spPr>
        <p:txBody>
          <a:bodyPr lIns="146304" tIns="146304" rIns="146304" bIns="146304"/>
          <a:lstStyle>
            <a:lvl1pPr>
              <a:spcBef>
                <a:spcPts val="989"/>
              </a:spcBef>
              <a:spcAft>
                <a:spcPts val="989"/>
              </a:spcAft>
              <a:defRPr sz="5277">
                <a:solidFill>
                  <a:schemeClr val="bg1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5277" b="0">
                <a:solidFill>
                  <a:schemeClr val="bg1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5277">
                <a:solidFill>
                  <a:schemeClr val="bg1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+mj-lt"/>
              <a:buNone/>
              <a:defRPr sz="3298">
                <a:solidFill>
                  <a:schemeClr val="bg1"/>
                </a:solidFill>
              </a:defRPr>
            </a:lvl6pPr>
            <a:lvl7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chemeClr val="bg1"/>
                </a:solidFill>
              </a:defRPr>
            </a:lvl7pPr>
            <a:lvl8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 baseline="0">
                <a:solidFill>
                  <a:schemeClr val="bg1"/>
                </a:solidFill>
              </a:defRPr>
            </a:lvl8pPr>
            <a:lvl9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  <a:p>
            <a:pPr lvl="4"/>
            <a:endParaRPr lang="en-US" dirty="0"/>
          </a:p>
        </p:txBody>
      </p:sp>
      <p:sp>
        <p:nvSpPr>
          <p:cNvPr id="12" name="Text left">
            <a:extLst>
              <a:ext uri="{FF2B5EF4-FFF2-40B4-BE49-F238E27FC236}">
                <a16:creationId xmlns:a16="http://schemas.microsoft.com/office/drawing/2014/main" id="{512C60BA-0049-452F-8294-A2970BCB390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5110" y="2911485"/>
            <a:ext cx="9049462" cy="14963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192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inc key msg cl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right">
            <a:extLst>
              <a:ext uri="{FF2B5EF4-FFF2-40B4-BE49-F238E27FC236}">
                <a16:creationId xmlns:a16="http://schemas.microsoft.com/office/drawing/2014/main" id="{391742AE-12F4-4120-AE89-D85D6107FC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350473" y="2911485"/>
            <a:ext cx="9049462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Icon">
            <a:extLst>
              <a:ext uri="{FF2B5EF4-FFF2-40B4-BE49-F238E27FC236}">
                <a16:creationId xmlns:a16="http://schemas.microsoft.com/office/drawing/2014/main" id="{194569C9-0DA2-4C7A-B9A9-49B53CA5ADC7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3966662" y="4660283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Key text">
            <a:extLst>
              <a:ext uri="{FF2B5EF4-FFF2-40B4-BE49-F238E27FC236}">
                <a16:creationId xmlns:a16="http://schemas.microsoft.com/office/drawing/2014/main" id="{016969B2-5C8A-47AB-83BC-85561D117C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6052" y="7554647"/>
            <a:ext cx="9049462" cy="3015827"/>
          </a:xfrm>
          <a:solidFill>
            <a:schemeClr val="accent2"/>
          </a:solidFill>
          <a:ln>
            <a:noFill/>
          </a:ln>
        </p:spPr>
        <p:txBody>
          <a:bodyPr lIns="146304" tIns="146304" rIns="146304" bIns="146304"/>
          <a:lstStyle>
            <a:lvl1pPr>
              <a:spcBef>
                <a:spcPts val="989"/>
              </a:spcBef>
              <a:spcAft>
                <a:spcPts val="989"/>
              </a:spcAft>
              <a:defRPr sz="5277">
                <a:solidFill>
                  <a:schemeClr val="bg1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5277" b="0">
                <a:solidFill>
                  <a:schemeClr val="bg1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5277">
                <a:solidFill>
                  <a:schemeClr val="bg1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6pPr>
            <a:lvl7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7pPr>
            <a:lvl8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8pPr>
            <a:lvl9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  <a:p>
            <a:pPr lvl="4"/>
            <a:endParaRPr lang="en-US" dirty="0"/>
          </a:p>
        </p:txBody>
      </p:sp>
      <p:sp>
        <p:nvSpPr>
          <p:cNvPr id="12" name="Text left">
            <a:extLst>
              <a:ext uri="{FF2B5EF4-FFF2-40B4-BE49-F238E27FC236}">
                <a16:creationId xmlns:a16="http://schemas.microsoft.com/office/drawing/2014/main" id="{512C60BA-0049-452F-8294-A2970BCB390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5110" y="2911485"/>
            <a:ext cx="9049462" cy="14963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0798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inc key msg cl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right">
            <a:extLst>
              <a:ext uri="{FF2B5EF4-FFF2-40B4-BE49-F238E27FC236}">
                <a16:creationId xmlns:a16="http://schemas.microsoft.com/office/drawing/2014/main" id="{391742AE-12F4-4120-AE89-D85D6107FC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350473" y="2911485"/>
            <a:ext cx="9049462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Icon">
            <a:extLst>
              <a:ext uri="{FF2B5EF4-FFF2-40B4-BE49-F238E27FC236}">
                <a16:creationId xmlns:a16="http://schemas.microsoft.com/office/drawing/2014/main" id="{194569C9-0DA2-4C7A-B9A9-49B53CA5ADC7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3966662" y="4660283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Key text">
            <a:extLst>
              <a:ext uri="{FF2B5EF4-FFF2-40B4-BE49-F238E27FC236}">
                <a16:creationId xmlns:a16="http://schemas.microsoft.com/office/drawing/2014/main" id="{016969B2-5C8A-47AB-83BC-85561D117C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6052" y="7554647"/>
            <a:ext cx="9049462" cy="3015827"/>
          </a:xfrm>
          <a:solidFill>
            <a:schemeClr val="accent3"/>
          </a:solidFill>
          <a:ln>
            <a:noFill/>
          </a:ln>
        </p:spPr>
        <p:txBody>
          <a:bodyPr lIns="146304" tIns="146304" rIns="146304" bIns="146304"/>
          <a:lstStyle>
            <a:lvl1pPr>
              <a:spcBef>
                <a:spcPts val="989"/>
              </a:spcBef>
              <a:spcAft>
                <a:spcPts val="989"/>
              </a:spcAft>
              <a:defRPr sz="5277">
                <a:solidFill>
                  <a:schemeClr val="bg1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5277" b="0">
                <a:solidFill>
                  <a:schemeClr val="bg1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5277">
                <a:solidFill>
                  <a:schemeClr val="bg1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6pPr>
            <a:lvl7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chemeClr val="bg1"/>
                </a:solidFill>
              </a:defRPr>
            </a:lvl7pPr>
            <a:lvl8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8pPr>
            <a:lvl9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</p:txBody>
      </p:sp>
      <p:sp>
        <p:nvSpPr>
          <p:cNvPr id="12" name="Text left">
            <a:extLst>
              <a:ext uri="{FF2B5EF4-FFF2-40B4-BE49-F238E27FC236}">
                <a16:creationId xmlns:a16="http://schemas.microsoft.com/office/drawing/2014/main" id="{512C60BA-0049-452F-8294-A2970BCB390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25110" y="2911485"/>
            <a:ext cx="9049462" cy="14963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4107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inc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con">
            <a:extLst>
              <a:ext uri="{FF2B5EF4-FFF2-40B4-BE49-F238E27FC236}">
                <a16:creationId xmlns:a16="http://schemas.microsoft.com/office/drawing/2014/main" id="{271A47C4-966D-4E67-BA94-AB437FB2C42B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1305690" y="1769561"/>
            <a:ext cx="8073300" cy="4036933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F7317522-2056-4200-A3F5-850E5D1064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10" y="2911485"/>
            <a:ext cx="9046845" cy="7480200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37"/>
            <p:custDataLst>
              <p:tags r:id="rId2"/>
            </p:custDataLst>
          </p:nvPr>
        </p:nvSpPr>
        <p:spPr>
          <a:xfrm>
            <a:off x="10287521" y="5865427"/>
            <a:ext cx="9088399" cy="442281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Quote text">
            <a:extLst>
              <a:ext uri="{FF2B5EF4-FFF2-40B4-BE49-F238E27FC236}">
                <a16:creationId xmlns:a16="http://schemas.microsoft.com/office/drawing/2014/main" id="{DA1100AF-B44D-448A-BAD8-54B0F4AB57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366176" y="5864147"/>
            <a:ext cx="9033757" cy="4421643"/>
          </a:xfrm>
        </p:spPr>
        <p:txBody>
          <a:bodyPr tIns="146304" bIns="146304"/>
          <a:lstStyle>
            <a:lvl1pPr>
              <a:spcBef>
                <a:spcPts val="989"/>
              </a:spcBef>
              <a:spcAft>
                <a:spcPts val="989"/>
              </a:spcAft>
              <a:defRPr sz="5277" baseline="0">
                <a:solidFill>
                  <a:schemeClr val="accent1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5277" b="0" baseline="0">
                <a:solidFill>
                  <a:schemeClr val="accent1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Font typeface="Arial" panose="020B0604020202020204" pitchFamily="34" charset="0"/>
              <a:buChar char="‒"/>
              <a:defRPr sz="5277" baseline="0">
                <a:solidFill>
                  <a:schemeClr val="accent1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None/>
              <a:defRPr sz="3298" baseline="0">
                <a:solidFill>
                  <a:schemeClr val="accent1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None/>
              <a:defRPr sz="3298" baseline="0">
                <a:solidFill>
                  <a:schemeClr val="accent1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/>
            </a:lvl6pPr>
            <a:lvl7pPr marL="0" indent="0">
              <a:spcBef>
                <a:spcPts val="989"/>
              </a:spcBef>
              <a:spcAft>
                <a:spcPts val="989"/>
              </a:spcAft>
              <a:buNone/>
              <a:defRPr sz="3298"/>
            </a:lvl7pPr>
            <a:lvl8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/>
            </a:lvl8pPr>
            <a:lvl9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/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331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inc highligh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con">
            <a:extLst>
              <a:ext uri="{FF2B5EF4-FFF2-40B4-BE49-F238E27FC236}">
                <a16:creationId xmlns:a16="http://schemas.microsoft.com/office/drawing/2014/main" id="{271A47C4-966D-4E67-BA94-AB437FB2C42B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1305690" y="1769561"/>
            <a:ext cx="8073300" cy="4036933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Text">
            <a:extLst>
              <a:ext uri="{FF2B5EF4-FFF2-40B4-BE49-F238E27FC236}">
                <a16:creationId xmlns:a16="http://schemas.microsoft.com/office/drawing/2014/main" id="{F7317522-2056-4200-A3F5-850E5D1064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10" y="2911485"/>
            <a:ext cx="9046845" cy="7480200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37"/>
            <p:custDataLst>
              <p:tags r:id="rId2"/>
            </p:custDataLst>
          </p:nvPr>
        </p:nvSpPr>
        <p:spPr>
          <a:xfrm>
            <a:off x="10287521" y="5865427"/>
            <a:ext cx="9088399" cy="442281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Quote text">
            <a:extLst>
              <a:ext uri="{FF2B5EF4-FFF2-40B4-BE49-F238E27FC236}">
                <a16:creationId xmlns:a16="http://schemas.microsoft.com/office/drawing/2014/main" id="{DA1100AF-B44D-448A-BAD8-54B0F4AB578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366177" y="5864147"/>
            <a:ext cx="8969225" cy="4421643"/>
          </a:xfrm>
        </p:spPr>
        <p:txBody>
          <a:bodyPr tIns="146304" bIns="146304"/>
          <a:lstStyle>
            <a:lvl1pPr>
              <a:spcBef>
                <a:spcPts val="989"/>
              </a:spcBef>
              <a:spcAft>
                <a:spcPts val="989"/>
              </a:spcAft>
              <a:defRPr sz="5277" baseline="0">
                <a:solidFill>
                  <a:srgbClr val="FB5A17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rgbClr val="FB5A17"/>
              </a:buClr>
              <a:buFont typeface="Arial" panose="020B0604020202020204" pitchFamily="34" charset="0"/>
              <a:buChar char="•"/>
              <a:defRPr sz="5277" b="0" baseline="0">
                <a:solidFill>
                  <a:srgbClr val="FB5A17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Clr>
                <a:srgbClr val="FB5A17"/>
              </a:buClr>
              <a:buFont typeface="Arial" panose="020B0604020202020204" pitchFamily="34" charset="0"/>
              <a:buChar char="‒"/>
              <a:defRPr sz="5277" baseline="0">
                <a:solidFill>
                  <a:srgbClr val="FB5A17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None/>
              <a:defRPr sz="3298" baseline="0">
                <a:solidFill>
                  <a:srgbClr val="FB5A17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None/>
              <a:defRPr sz="3298" baseline="0">
                <a:solidFill>
                  <a:srgbClr val="FB5A17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rgbClr val="FB5A17"/>
                </a:solidFill>
              </a:defRPr>
            </a:lvl6pPr>
            <a:lvl7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rgbClr val="FB5A17"/>
                </a:solidFill>
              </a:defRPr>
            </a:lvl7pPr>
            <a:lvl8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rgbClr val="FB5A17"/>
                </a:solidFill>
              </a:defRPr>
            </a:lvl8pPr>
            <a:lvl9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rgbClr val="FB5A17"/>
                </a:solidFill>
              </a:defRPr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15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100" b="1" i="0">
                <a:solidFill>
                  <a:srgbClr val="96E3D6"/>
                </a:solidFill>
                <a:latin typeface="Quicksand-SemiBold"/>
                <a:cs typeface="Quicksand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4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right">
            <a:extLst>
              <a:ext uri="{FF2B5EF4-FFF2-40B4-BE49-F238E27FC236}">
                <a16:creationId xmlns:a16="http://schemas.microsoft.com/office/drawing/2014/main" id="{09994004-596A-4F40-A631-31AE3621422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 bwMode="white">
          <a:xfrm>
            <a:off x="10357896" y="5947877"/>
            <a:ext cx="9049462" cy="4743397"/>
          </a:xfrm>
          <a:noFill/>
        </p:spPr>
        <p:txBody>
          <a:bodyPr lIns="0" tIns="0" rIns="0" bIns="0"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Icon 2">
            <a:extLst>
              <a:ext uri="{FF2B5EF4-FFF2-40B4-BE49-F238E27FC236}">
                <a16:creationId xmlns:a16="http://schemas.microsoft.com/office/drawing/2014/main" id="{CC90A5C0-1588-4055-A068-B0A5F953FAEB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568111" y="2922406"/>
            <a:ext cx="5817525" cy="290849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Text left">
            <a:extLst>
              <a:ext uri="{FF2B5EF4-FFF2-40B4-BE49-F238E27FC236}">
                <a16:creationId xmlns:a16="http://schemas.microsoft.com/office/drawing/2014/main" id="{6D44712E-64B1-4ED6-8513-E2984438965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725110" y="5947877"/>
            <a:ext cx="9049462" cy="4743397"/>
          </a:xfrm>
          <a:noFill/>
        </p:spPr>
        <p:txBody>
          <a:bodyPr lIns="0" tIns="0" rIns="0" bIns="0"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Icon 1">
            <a:extLst>
              <a:ext uri="{FF2B5EF4-FFF2-40B4-BE49-F238E27FC236}">
                <a16:creationId xmlns:a16="http://schemas.microsoft.com/office/drawing/2014/main" id="{F223B458-B73E-405A-B54F-6D18D1A2AC52}"/>
              </a:ext>
            </a:extLst>
          </p:cNvPr>
          <p:cNvSpPr>
            <a:spLocks noGrp="1"/>
          </p:cNvSpPr>
          <p:nvPr>
            <p:ph type="pic" sz="quarter" idx="34"/>
            <p:custDataLst>
              <p:tags r:id="rId2"/>
            </p:custDataLst>
          </p:nvPr>
        </p:nvSpPr>
        <p:spPr>
          <a:xfrm>
            <a:off x="3972603" y="2931405"/>
            <a:ext cx="5817525" cy="29089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36"/>
            <p:custDataLst>
              <p:tags r:id="rId3"/>
            </p:custDataLst>
          </p:nvPr>
        </p:nvSpPr>
        <p:spPr>
          <a:xfrm>
            <a:off x="706414" y="5841680"/>
            <a:ext cx="9070590" cy="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37"/>
            <p:custDataLst>
              <p:tags r:id="rId4"/>
            </p:custDataLst>
          </p:nvPr>
        </p:nvSpPr>
        <p:spPr>
          <a:xfrm>
            <a:off x="10335011" y="5841680"/>
            <a:ext cx="9070590" cy="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9066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block cl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con right">
            <a:extLst>
              <a:ext uri="{FF2B5EF4-FFF2-40B4-BE49-F238E27FC236}">
                <a16:creationId xmlns:a16="http://schemas.microsoft.com/office/drawing/2014/main" id="{83C291D8-3614-44E3-A95C-C69C8ABF4D2E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540524" y="2944587"/>
            <a:ext cx="5817525" cy="29089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Icon Left">
            <a:extLst>
              <a:ext uri="{FF2B5EF4-FFF2-40B4-BE49-F238E27FC236}">
                <a16:creationId xmlns:a16="http://schemas.microsoft.com/office/drawing/2014/main" id="{C85A8C5A-A638-4CEA-A33E-24F64C988911}"/>
              </a:ext>
            </a:extLst>
          </p:cNvPr>
          <p:cNvSpPr>
            <a:spLocks noGrp="1"/>
          </p:cNvSpPr>
          <p:nvPr>
            <p:ph type="pic" sz="quarter" idx="34"/>
            <p:custDataLst>
              <p:tags r:id="rId2"/>
            </p:custDataLst>
          </p:nvPr>
        </p:nvSpPr>
        <p:spPr>
          <a:xfrm>
            <a:off x="3993545" y="2944587"/>
            <a:ext cx="5817525" cy="29089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left">
            <a:extLst>
              <a:ext uri="{FF2B5EF4-FFF2-40B4-BE49-F238E27FC236}">
                <a16:creationId xmlns:a16="http://schemas.microsoft.com/office/drawing/2014/main" id="{2482E741-307A-4D80-8733-7A781716F7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6052" y="5840369"/>
            <a:ext cx="9049462" cy="4743397"/>
          </a:xfrm>
          <a:solidFill>
            <a:schemeClr val="accent1"/>
          </a:solidFill>
          <a:ln>
            <a:noFill/>
          </a:ln>
        </p:spPr>
        <p:txBody>
          <a:bodyPr lIns="180000" tIns="180000" rIns="180000" bIns="180000"/>
          <a:lstStyle>
            <a:lvl1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buAutoNum type="alphaLcPeriod"/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left">
            <a:extLst>
              <a:ext uri="{FF2B5EF4-FFF2-40B4-BE49-F238E27FC236}">
                <a16:creationId xmlns:a16="http://schemas.microsoft.com/office/drawing/2014/main" id="{2482E741-307A-4D80-8733-7A781716F70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366177" y="5853553"/>
            <a:ext cx="9049462" cy="4743397"/>
          </a:xfrm>
          <a:solidFill>
            <a:schemeClr val="accent1"/>
          </a:solidFill>
          <a:ln>
            <a:noFill/>
          </a:ln>
        </p:spPr>
        <p:txBody>
          <a:bodyPr lIns="180000" tIns="180000" rIns="180000" bIns="180000"/>
          <a:lstStyle>
            <a:lvl1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9833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block cl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con 2">
            <a:extLst>
              <a:ext uri="{FF2B5EF4-FFF2-40B4-BE49-F238E27FC236}">
                <a16:creationId xmlns:a16="http://schemas.microsoft.com/office/drawing/2014/main" id="{83C291D8-3614-44E3-A95C-C69C8ABF4D2E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540524" y="2944587"/>
            <a:ext cx="5817525" cy="29089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Icon 1">
            <a:extLst>
              <a:ext uri="{FF2B5EF4-FFF2-40B4-BE49-F238E27FC236}">
                <a16:creationId xmlns:a16="http://schemas.microsoft.com/office/drawing/2014/main" id="{C85A8C5A-A638-4CEA-A33E-24F64C988911}"/>
              </a:ext>
            </a:extLst>
          </p:cNvPr>
          <p:cNvSpPr>
            <a:spLocks noGrp="1"/>
          </p:cNvSpPr>
          <p:nvPr>
            <p:ph type="pic" sz="quarter" idx="34"/>
            <p:custDataLst>
              <p:tags r:id="rId2"/>
            </p:custDataLst>
          </p:nvPr>
        </p:nvSpPr>
        <p:spPr>
          <a:xfrm>
            <a:off x="3993545" y="2944587"/>
            <a:ext cx="5817525" cy="29089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left">
            <a:extLst>
              <a:ext uri="{FF2B5EF4-FFF2-40B4-BE49-F238E27FC236}">
                <a16:creationId xmlns:a16="http://schemas.microsoft.com/office/drawing/2014/main" id="{2482E741-307A-4D80-8733-7A781716F7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6052" y="5840372"/>
            <a:ext cx="9049462" cy="4741198"/>
          </a:xfrm>
          <a:solidFill>
            <a:schemeClr val="accent2"/>
          </a:solidFill>
          <a:ln>
            <a:noFill/>
          </a:ln>
        </p:spPr>
        <p:txBody>
          <a:bodyPr lIns="180000" tIns="180000" rIns="180000" bIns="180000"/>
          <a:lstStyle>
            <a:lvl1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left">
            <a:extLst>
              <a:ext uri="{FF2B5EF4-FFF2-40B4-BE49-F238E27FC236}">
                <a16:creationId xmlns:a16="http://schemas.microsoft.com/office/drawing/2014/main" id="{2482E741-307A-4D80-8733-7A781716F70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356394" y="5853554"/>
            <a:ext cx="9049462" cy="4741198"/>
          </a:xfrm>
          <a:solidFill>
            <a:schemeClr val="accent2"/>
          </a:solidFill>
          <a:ln>
            <a:noFill/>
          </a:ln>
        </p:spPr>
        <p:txBody>
          <a:bodyPr lIns="180000" tIns="180000" rIns="180000" bIns="180000"/>
          <a:lstStyle>
            <a:lvl1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114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block cl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con 2">
            <a:extLst>
              <a:ext uri="{FF2B5EF4-FFF2-40B4-BE49-F238E27FC236}">
                <a16:creationId xmlns:a16="http://schemas.microsoft.com/office/drawing/2014/main" id="{83C291D8-3614-44E3-A95C-C69C8ABF4D2E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540524" y="2944587"/>
            <a:ext cx="5817525" cy="29089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Icon 1">
            <a:extLst>
              <a:ext uri="{FF2B5EF4-FFF2-40B4-BE49-F238E27FC236}">
                <a16:creationId xmlns:a16="http://schemas.microsoft.com/office/drawing/2014/main" id="{C85A8C5A-A638-4CEA-A33E-24F64C988911}"/>
              </a:ext>
            </a:extLst>
          </p:cNvPr>
          <p:cNvSpPr>
            <a:spLocks noGrp="1"/>
          </p:cNvSpPr>
          <p:nvPr>
            <p:ph type="pic" sz="quarter" idx="34"/>
            <p:custDataLst>
              <p:tags r:id="rId2"/>
            </p:custDataLst>
          </p:nvPr>
        </p:nvSpPr>
        <p:spPr>
          <a:xfrm>
            <a:off x="3993545" y="2944587"/>
            <a:ext cx="5817525" cy="290896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left">
            <a:extLst>
              <a:ext uri="{FF2B5EF4-FFF2-40B4-BE49-F238E27FC236}">
                <a16:creationId xmlns:a16="http://schemas.microsoft.com/office/drawing/2014/main" id="{2482E741-307A-4D80-8733-7A781716F7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6052" y="5840372"/>
            <a:ext cx="9049462" cy="4741198"/>
          </a:xfrm>
          <a:solidFill>
            <a:schemeClr val="accent3"/>
          </a:solidFill>
          <a:ln>
            <a:noFill/>
          </a:ln>
        </p:spPr>
        <p:txBody>
          <a:bodyPr lIns="180000" tIns="180000" rIns="180000" bIns="180000"/>
          <a:lstStyle>
            <a:lvl1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left">
            <a:extLst>
              <a:ext uri="{FF2B5EF4-FFF2-40B4-BE49-F238E27FC236}">
                <a16:creationId xmlns:a16="http://schemas.microsoft.com/office/drawing/2014/main" id="{2482E741-307A-4D80-8733-7A781716F707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0374958" y="5853554"/>
            <a:ext cx="9049462" cy="4741198"/>
          </a:xfrm>
          <a:solidFill>
            <a:schemeClr val="accent3"/>
          </a:solidFill>
          <a:ln>
            <a:noFill/>
          </a:ln>
        </p:spPr>
        <p:txBody>
          <a:bodyPr lIns="180000" tIns="180000" rIns="180000" bIns="180000"/>
          <a:lstStyle>
            <a:lvl1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1505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right">
            <a:extLst>
              <a:ext uri="{FF2B5EF4-FFF2-40B4-BE49-F238E27FC236}">
                <a16:creationId xmlns:a16="http://schemas.microsoft.com/office/drawing/2014/main" id="{6261C01D-244C-4BAB-926A-03A50922A7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531177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 middle">
            <a:extLst>
              <a:ext uri="{FF2B5EF4-FFF2-40B4-BE49-F238E27FC236}">
                <a16:creationId xmlns:a16="http://schemas.microsoft.com/office/drawing/2014/main" id="{C758E759-496F-4508-9EB5-64EFB18EF2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28143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left">
            <a:extLst>
              <a:ext uri="{FF2B5EF4-FFF2-40B4-BE49-F238E27FC236}">
                <a16:creationId xmlns:a16="http://schemas.microsoft.com/office/drawing/2014/main" id="{C74F9502-5BC4-4335-BF6F-568073F9D9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09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06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+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con">
            <a:extLst>
              <a:ext uri="{FF2B5EF4-FFF2-40B4-BE49-F238E27FC236}">
                <a16:creationId xmlns:a16="http://schemas.microsoft.com/office/drawing/2014/main" id="{BC6E8AC8-A118-4ABF-93E6-35C4B4E4585D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567481" y="7673366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right">
            <a:extLst>
              <a:ext uri="{FF2B5EF4-FFF2-40B4-BE49-F238E27FC236}">
                <a16:creationId xmlns:a16="http://schemas.microsoft.com/office/drawing/2014/main" id="{6261C01D-244C-4BAB-926A-03A50922A7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531177" y="2911486"/>
            <a:ext cx="5876888" cy="4524388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Text middle">
            <a:extLst>
              <a:ext uri="{FF2B5EF4-FFF2-40B4-BE49-F238E27FC236}">
                <a16:creationId xmlns:a16="http://schemas.microsoft.com/office/drawing/2014/main" id="{C758E759-496F-4508-9EB5-64EFB18EF2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28143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left">
            <a:extLst>
              <a:ext uri="{FF2B5EF4-FFF2-40B4-BE49-F238E27FC236}">
                <a16:creationId xmlns:a16="http://schemas.microsoft.com/office/drawing/2014/main" id="{C74F9502-5BC4-4335-BF6F-568073F9D9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09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3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nc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con right">
            <a:extLst>
              <a:ext uri="{FF2B5EF4-FFF2-40B4-BE49-F238E27FC236}">
                <a16:creationId xmlns:a16="http://schemas.microsoft.com/office/drawing/2014/main" id="{6459DCF0-D74F-4826-8A0D-4D83CF6E7983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510631" y="2911579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middle">
            <a:extLst>
              <a:ext uri="{FF2B5EF4-FFF2-40B4-BE49-F238E27FC236}">
                <a16:creationId xmlns:a16="http://schemas.microsoft.com/office/drawing/2014/main" id="{C758E759-496F-4508-9EB5-64EFB18EF2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28143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left">
            <a:extLst>
              <a:ext uri="{FF2B5EF4-FFF2-40B4-BE49-F238E27FC236}">
                <a16:creationId xmlns:a16="http://schemas.microsoft.com/office/drawing/2014/main" id="{C74F9502-5BC4-4335-BF6F-568073F9D9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09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37"/>
            <p:custDataLst>
              <p:tags r:id="rId2"/>
            </p:custDataLst>
          </p:nvPr>
        </p:nvSpPr>
        <p:spPr>
          <a:xfrm>
            <a:off x="13457479" y="5819604"/>
            <a:ext cx="5918441" cy="442281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Quote text">
            <a:extLst>
              <a:ext uri="{FF2B5EF4-FFF2-40B4-BE49-F238E27FC236}">
                <a16:creationId xmlns:a16="http://schemas.microsoft.com/office/drawing/2014/main" id="{FC35155E-D50A-4A70-A40F-B1C89D2AFBF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458514" y="5820546"/>
            <a:ext cx="5876888" cy="4433313"/>
          </a:xfrm>
          <a:solidFill>
            <a:schemeClr val="bg1"/>
          </a:solidFill>
        </p:spPr>
        <p:txBody>
          <a:bodyPr tIns="146304" bIns="146304"/>
          <a:lstStyle>
            <a:lvl1pPr>
              <a:spcBef>
                <a:spcPts val="989"/>
              </a:spcBef>
              <a:spcAft>
                <a:spcPts val="989"/>
              </a:spcAft>
              <a:defRPr sz="5277" baseline="0">
                <a:solidFill>
                  <a:schemeClr val="accent1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5277" b="0" baseline="0">
                <a:solidFill>
                  <a:schemeClr val="accent1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Font typeface="Arial" panose="020B0604020202020204" pitchFamily="34" charset="0"/>
              <a:buChar char="‒"/>
              <a:defRPr sz="5277" baseline="0">
                <a:solidFill>
                  <a:schemeClr val="accent1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None/>
              <a:defRPr sz="3298" baseline="0">
                <a:solidFill>
                  <a:schemeClr val="accent1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None/>
              <a:defRPr sz="3298" baseline="0">
                <a:solidFill>
                  <a:schemeClr val="accent1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/>
            </a:lvl6pPr>
            <a:lvl7pPr marL="0" indent="0">
              <a:spcBef>
                <a:spcPts val="989"/>
              </a:spcBef>
              <a:spcAft>
                <a:spcPts val="989"/>
              </a:spcAft>
              <a:buNone/>
              <a:defRPr sz="3298"/>
            </a:lvl7pPr>
            <a:lvl8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/>
            </a:lvl8pPr>
            <a:lvl9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/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47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inc highligh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con right">
            <a:extLst>
              <a:ext uri="{FF2B5EF4-FFF2-40B4-BE49-F238E27FC236}">
                <a16:creationId xmlns:a16="http://schemas.microsoft.com/office/drawing/2014/main" id="{6459DCF0-D74F-4826-8A0D-4D83CF6E7983}"/>
              </a:ext>
            </a:extLst>
          </p:cNvPr>
          <p:cNvSpPr>
            <a:spLocks noGrp="1"/>
          </p:cNvSpPr>
          <p:nvPr>
            <p:ph type="pic" sz="quarter" idx="35"/>
            <p:custDataLst>
              <p:tags r:id="rId1"/>
            </p:custDataLst>
          </p:nvPr>
        </p:nvSpPr>
        <p:spPr>
          <a:xfrm>
            <a:off x="13515860" y="2908967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middle">
            <a:extLst>
              <a:ext uri="{FF2B5EF4-FFF2-40B4-BE49-F238E27FC236}">
                <a16:creationId xmlns:a16="http://schemas.microsoft.com/office/drawing/2014/main" id="{C758E759-496F-4508-9EB5-64EFB18EF2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28143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ext left">
            <a:extLst>
              <a:ext uri="{FF2B5EF4-FFF2-40B4-BE49-F238E27FC236}">
                <a16:creationId xmlns:a16="http://schemas.microsoft.com/office/drawing/2014/main" id="{C74F9502-5BC4-4335-BF6F-568073F9D9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5109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44048D1-F193-4EDC-8C83-64EBF360C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37"/>
            <p:custDataLst>
              <p:tags r:id="rId2"/>
            </p:custDataLst>
          </p:nvPr>
        </p:nvSpPr>
        <p:spPr>
          <a:xfrm>
            <a:off x="13457479" y="5817933"/>
            <a:ext cx="5918441" cy="442281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Quote text">
            <a:extLst>
              <a:ext uri="{FF2B5EF4-FFF2-40B4-BE49-F238E27FC236}">
                <a16:creationId xmlns:a16="http://schemas.microsoft.com/office/drawing/2014/main" id="{FC35155E-D50A-4A70-A40F-B1C89D2AFBF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458514" y="5820546"/>
            <a:ext cx="5876888" cy="4433313"/>
          </a:xfrm>
          <a:noFill/>
        </p:spPr>
        <p:txBody>
          <a:bodyPr tIns="146304" bIns="146304"/>
          <a:lstStyle>
            <a:lvl1pPr>
              <a:spcBef>
                <a:spcPts val="989"/>
              </a:spcBef>
              <a:spcAft>
                <a:spcPts val="989"/>
              </a:spcAft>
              <a:defRPr sz="5277" baseline="0">
                <a:solidFill>
                  <a:srgbClr val="FB5A17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rgbClr val="FB5A17"/>
              </a:buClr>
              <a:buFont typeface="Arial" panose="020B0604020202020204" pitchFamily="34" charset="0"/>
              <a:buChar char="•"/>
              <a:defRPr sz="5277" b="0" baseline="0">
                <a:solidFill>
                  <a:srgbClr val="FB5A17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Clr>
                <a:srgbClr val="FB5A17"/>
              </a:buClr>
              <a:buFont typeface="Arial" panose="020B0604020202020204" pitchFamily="34" charset="0"/>
              <a:buChar char="‒"/>
              <a:defRPr sz="5277" baseline="0">
                <a:solidFill>
                  <a:srgbClr val="FB5A17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None/>
              <a:defRPr sz="3298" baseline="0">
                <a:solidFill>
                  <a:srgbClr val="FB5A17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None/>
              <a:defRPr sz="3298" baseline="0">
                <a:solidFill>
                  <a:srgbClr val="FB5A17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rgbClr val="FB5A17"/>
                </a:solidFill>
              </a:defRPr>
            </a:lvl6pPr>
            <a:lvl7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rgbClr val="FB5A17"/>
                </a:solidFill>
              </a:defRPr>
            </a:lvl7pPr>
            <a:lvl8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rgbClr val="FB5A17"/>
                </a:solidFill>
              </a:defRPr>
            </a:lvl8pPr>
            <a:lvl9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rgbClr val="FB5A17"/>
                </a:solidFill>
              </a:defRPr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73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inc key msg cl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right">
            <a:extLst>
              <a:ext uri="{FF2B5EF4-FFF2-40B4-BE49-F238E27FC236}">
                <a16:creationId xmlns:a16="http://schemas.microsoft.com/office/drawing/2014/main" id="{98617A6B-FAAC-42A1-A8EE-C3FF257FDB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88496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middle">
            <a:extLst>
              <a:ext uri="{FF2B5EF4-FFF2-40B4-BE49-F238E27FC236}">
                <a16:creationId xmlns:a16="http://schemas.microsoft.com/office/drawing/2014/main" id="{C8D746CC-435C-4144-B943-C925D57EB3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491529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Icon left">
            <a:extLst>
              <a:ext uri="{FF2B5EF4-FFF2-40B4-BE49-F238E27FC236}">
                <a16:creationId xmlns:a16="http://schemas.microsoft.com/office/drawing/2014/main" id="{79FFD790-2EAD-4AD9-91F8-B25FBF1123B9}"/>
              </a:ext>
            </a:extLst>
          </p:cNvPr>
          <p:cNvSpPr>
            <a:spLocks noGrp="1"/>
          </p:cNvSpPr>
          <p:nvPr>
            <p:ph type="pic" sz="quarter" idx="36"/>
            <p:custDataLst>
              <p:tags r:id="rId1"/>
            </p:custDataLst>
          </p:nvPr>
        </p:nvSpPr>
        <p:spPr>
          <a:xfrm>
            <a:off x="754034" y="2879283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Key text">
            <a:extLst>
              <a:ext uri="{FF2B5EF4-FFF2-40B4-BE49-F238E27FC236}">
                <a16:creationId xmlns:a16="http://schemas.microsoft.com/office/drawing/2014/main" id="{8514BE8C-AF84-4197-8EEF-D0F7438574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246" y="5772482"/>
            <a:ext cx="5876888" cy="4809089"/>
          </a:xfrm>
          <a:solidFill>
            <a:schemeClr val="accent1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sz="5277" b="0">
                <a:solidFill>
                  <a:schemeClr val="bg1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5277" b="0">
                <a:solidFill>
                  <a:schemeClr val="bg1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5277">
                <a:solidFill>
                  <a:schemeClr val="bg1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6pPr>
            <a:lvl7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chemeClr val="bg1"/>
                </a:solidFill>
              </a:defRPr>
            </a:lvl7pPr>
            <a:lvl8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8pPr>
            <a:lvl9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  <a:p>
            <a:pPr lvl="4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689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inc key msg cl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right">
            <a:extLst>
              <a:ext uri="{FF2B5EF4-FFF2-40B4-BE49-F238E27FC236}">
                <a16:creationId xmlns:a16="http://schemas.microsoft.com/office/drawing/2014/main" id="{98617A6B-FAAC-42A1-A8EE-C3FF257FDB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88496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middle">
            <a:extLst>
              <a:ext uri="{FF2B5EF4-FFF2-40B4-BE49-F238E27FC236}">
                <a16:creationId xmlns:a16="http://schemas.microsoft.com/office/drawing/2014/main" id="{C8D746CC-435C-4144-B943-C925D57EB3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491529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Icon left">
            <a:extLst>
              <a:ext uri="{FF2B5EF4-FFF2-40B4-BE49-F238E27FC236}">
                <a16:creationId xmlns:a16="http://schemas.microsoft.com/office/drawing/2014/main" id="{0624DBA9-A36E-40DA-8A7A-CF80D24147EC}"/>
              </a:ext>
            </a:extLst>
          </p:cNvPr>
          <p:cNvSpPr>
            <a:spLocks noGrp="1"/>
          </p:cNvSpPr>
          <p:nvPr>
            <p:ph type="pic" sz="quarter" idx="36"/>
            <p:custDataLst>
              <p:tags r:id="rId1"/>
            </p:custDataLst>
          </p:nvPr>
        </p:nvSpPr>
        <p:spPr>
          <a:xfrm>
            <a:off x="754034" y="2879283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Key text">
            <a:extLst>
              <a:ext uri="{FF2B5EF4-FFF2-40B4-BE49-F238E27FC236}">
                <a16:creationId xmlns:a16="http://schemas.microsoft.com/office/drawing/2014/main" id="{8514BE8C-AF84-4197-8EEF-D0F7438574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246" y="5772482"/>
            <a:ext cx="5876888" cy="4809089"/>
          </a:xfrm>
          <a:solidFill>
            <a:schemeClr val="accent2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sz="5277" b="0">
                <a:solidFill>
                  <a:schemeClr val="bg1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5277" b="0">
                <a:solidFill>
                  <a:schemeClr val="bg1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5277">
                <a:solidFill>
                  <a:schemeClr val="bg1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6pPr>
            <a:lvl7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chemeClr val="bg1"/>
                </a:solidFill>
              </a:defRPr>
            </a:lvl7pPr>
            <a:lvl8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8pPr>
            <a:lvl9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  <a:p>
            <a:pPr lvl="4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765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4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Nr.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inc key msg cl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right">
            <a:extLst>
              <a:ext uri="{FF2B5EF4-FFF2-40B4-BE49-F238E27FC236}">
                <a16:creationId xmlns:a16="http://schemas.microsoft.com/office/drawing/2014/main" id="{98617A6B-FAAC-42A1-A8EE-C3FF257FDB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88496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middle">
            <a:extLst>
              <a:ext uri="{FF2B5EF4-FFF2-40B4-BE49-F238E27FC236}">
                <a16:creationId xmlns:a16="http://schemas.microsoft.com/office/drawing/2014/main" id="{C8D746CC-435C-4144-B943-C925D57EB3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491529" y="2911485"/>
            <a:ext cx="5876888" cy="7413907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Icon left">
            <a:extLst>
              <a:ext uri="{FF2B5EF4-FFF2-40B4-BE49-F238E27FC236}">
                <a16:creationId xmlns:a16="http://schemas.microsoft.com/office/drawing/2014/main" id="{9CC78A52-1484-46AD-A771-A4E21C0E5148}"/>
              </a:ext>
            </a:extLst>
          </p:cNvPr>
          <p:cNvSpPr>
            <a:spLocks noGrp="1"/>
          </p:cNvSpPr>
          <p:nvPr>
            <p:ph type="pic" sz="quarter" idx="36"/>
            <p:custDataLst>
              <p:tags r:id="rId1"/>
            </p:custDataLst>
          </p:nvPr>
        </p:nvSpPr>
        <p:spPr>
          <a:xfrm>
            <a:off x="754034" y="2879283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Key text">
            <a:extLst>
              <a:ext uri="{FF2B5EF4-FFF2-40B4-BE49-F238E27FC236}">
                <a16:creationId xmlns:a16="http://schemas.microsoft.com/office/drawing/2014/main" id="{8514BE8C-AF84-4197-8EEF-D0F7438574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2246" y="5772482"/>
            <a:ext cx="5876888" cy="4809089"/>
          </a:xfrm>
          <a:solidFill>
            <a:schemeClr val="accent3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sz="5277" b="0">
                <a:solidFill>
                  <a:schemeClr val="bg1"/>
                </a:solidFill>
              </a:defRPr>
            </a:lvl1pPr>
            <a:lvl2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5277" b="0">
                <a:solidFill>
                  <a:schemeClr val="bg1"/>
                </a:solidFill>
              </a:defRPr>
            </a:lvl2pPr>
            <a:lvl3pPr marL="237456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5277">
                <a:solidFill>
                  <a:schemeClr val="bg1"/>
                </a:solidFill>
              </a:defRPr>
            </a:lvl3pPr>
            <a:lvl4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4pPr>
            <a:lvl5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None/>
              <a:defRPr sz="3298">
                <a:solidFill>
                  <a:schemeClr val="bg1"/>
                </a:solidFill>
              </a:defRPr>
            </a:lvl5pPr>
            <a:lvl6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6pPr>
            <a:lvl7pPr marL="0" indent="0">
              <a:spcBef>
                <a:spcPts val="989"/>
              </a:spcBef>
              <a:spcAft>
                <a:spcPts val="989"/>
              </a:spcAft>
              <a:buNone/>
              <a:defRPr sz="3298">
                <a:solidFill>
                  <a:schemeClr val="bg1"/>
                </a:solidFill>
              </a:defRPr>
            </a:lvl7pPr>
            <a:lvl8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8pPr>
            <a:lvl9pPr marL="0" indent="0">
              <a:spcBef>
                <a:spcPts val="989"/>
              </a:spcBef>
              <a:spcAft>
                <a:spcPts val="989"/>
              </a:spcAft>
              <a:buFont typeface="+mj-lt"/>
              <a:buNone/>
              <a:defRPr sz="329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  <a:p>
            <a:pPr lvl="4"/>
            <a:endParaRPr lang="en-US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619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tex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con 3">
            <a:extLst>
              <a:ext uri="{FF2B5EF4-FFF2-40B4-BE49-F238E27FC236}">
                <a16:creationId xmlns:a16="http://schemas.microsoft.com/office/drawing/2014/main" id="{B2D13627-B515-4D6B-9A9E-48F73FA9E82D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1"/>
            </p:custDataLst>
          </p:nvPr>
        </p:nvSpPr>
        <p:spPr>
          <a:xfrm>
            <a:off x="13560859" y="2926777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Icon 2">
            <a:extLst>
              <a:ext uri="{FF2B5EF4-FFF2-40B4-BE49-F238E27FC236}">
                <a16:creationId xmlns:a16="http://schemas.microsoft.com/office/drawing/2014/main" id="{71722353-CFEF-4B2B-BD16-54DCCE1A2490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7177926" y="2926777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Icon 1">
            <a:extLst>
              <a:ext uri="{FF2B5EF4-FFF2-40B4-BE49-F238E27FC236}">
                <a16:creationId xmlns:a16="http://schemas.microsoft.com/office/drawing/2014/main" id="{067DAA0D-CBEC-4F64-A950-F3D469BB4EAA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3"/>
            </p:custDataLst>
          </p:nvPr>
        </p:nvSpPr>
        <p:spPr>
          <a:xfrm>
            <a:off x="746051" y="2926777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  <p:custDataLst>
              <p:tags r:id="rId4"/>
            </p:custDataLst>
          </p:nvPr>
        </p:nvSpPr>
        <p:spPr>
          <a:xfrm>
            <a:off x="706414" y="5841680"/>
            <a:ext cx="5888760" cy="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/>
            <p:custDataLst>
              <p:tags r:id="rId5"/>
            </p:custDataLst>
          </p:nvPr>
        </p:nvSpPr>
        <p:spPr>
          <a:xfrm>
            <a:off x="7111628" y="5841680"/>
            <a:ext cx="5888760" cy="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20"/>
            <p:custDataLst>
              <p:tags r:id="rId6"/>
            </p:custDataLst>
          </p:nvPr>
        </p:nvSpPr>
        <p:spPr>
          <a:xfrm>
            <a:off x="13528714" y="5841680"/>
            <a:ext cx="5888760" cy="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Text 1">
            <a:extLst>
              <a:ext uri="{FF2B5EF4-FFF2-40B4-BE49-F238E27FC236}">
                <a16:creationId xmlns:a16="http://schemas.microsoft.com/office/drawing/2014/main" id="{5509E178-6E41-481E-A917-22DA56BC5A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725109" y="5947881"/>
            <a:ext cx="5876888" cy="4344312"/>
          </a:xfrm>
          <a:noFill/>
        </p:spPr>
        <p:txBody>
          <a:bodyPr lIns="0" tIns="0" rIns="0" bIns="0"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1">
            <a:extLst>
              <a:ext uri="{FF2B5EF4-FFF2-40B4-BE49-F238E27FC236}">
                <a16:creationId xmlns:a16="http://schemas.microsoft.com/office/drawing/2014/main" id="{5509E178-6E41-481E-A917-22DA56BC5A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7177925" y="5948541"/>
            <a:ext cx="5876888" cy="4344312"/>
          </a:xfrm>
          <a:noFill/>
        </p:spPr>
        <p:txBody>
          <a:bodyPr lIns="0" tIns="0" rIns="0" bIns="0"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1">
            <a:extLst>
              <a:ext uri="{FF2B5EF4-FFF2-40B4-BE49-F238E27FC236}">
                <a16:creationId xmlns:a16="http://schemas.microsoft.com/office/drawing/2014/main" id="{5509E178-6E41-481E-A917-22DA56BC5AE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white">
          <a:xfrm>
            <a:off x="13570312" y="5948541"/>
            <a:ext cx="5876888" cy="4344312"/>
          </a:xfrm>
          <a:noFill/>
        </p:spPr>
        <p:txBody>
          <a:bodyPr lIns="0" tIns="0" rIns="0" bIns="0"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675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block cl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con 3">
            <a:extLst>
              <a:ext uri="{FF2B5EF4-FFF2-40B4-BE49-F238E27FC236}">
                <a16:creationId xmlns:a16="http://schemas.microsoft.com/office/drawing/2014/main" id="{B2D13627-B515-4D6B-9A9E-48F73FA9E82D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1"/>
            </p:custDataLst>
          </p:nvPr>
        </p:nvSpPr>
        <p:spPr>
          <a:xfrm>
            <a:off x="13560859" y="2926777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Icon 2">
            <a:extLst>
              <a:ext uri="{FF2B5EF4-FFF2-40B4-BE49-F238E27FC236}">
                <a16:creationId xmlns:a16="http://schemas.microsoft.com/office/drawing/2014/main" id="{71722353-CFEF-4B2B-BD16-54DCCE1A2490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7177926" y="2926777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Icon 1">
            <a:extLst>
              <a:ext uri="{FF2B5EF4-FFF2-40B4-BE49-F238E27FC236}">
                <a16:creationId xmlns:a16="http://schemas.microsoft.com/office/drawing/2014/main" id="{067DAA0D-CBEC-4F64-A950-F3D469BB4EAA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3"/>
            </p:custDataLst>
          </p:nvPr>
        </p:nvSpPr>
        <p:spPr>
          <a:xfrm>
            <a:off x="746051" y="2926777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1">
            <a:extLst>
              <a:ext uri="{FF2B5EF4-FFF2-40B4-BE49-F238E27FC236}">
                <a16:creationId xmlns:a16="http://schemas.microsoft.com/office/drawing/2014/main" id="{5509E178-6E41-481E-A917-22DA56BC5A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725109" y="5829808"/>
            <a:ext cx="5876888" cy="4344312"/>
          </a:xfrm>
          <a:solidFill>
            <a:schemeClr val="accent1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1">
            <a:extLst>
              <a:ext uri="{FF2B5EF4-FFF2-40B4-BE49-F238E27FC236}">
                <a16:creationId xmlns:a16="http://schemas.microsoft.com/office/drawing/2014/main" id="{5509E178-6E41-481E-A917-22DA56BC5A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7152462" y="5829808"/>
            <a:ext cx="5876888" cy="4344312"/>
          </a:xfrm>
          <a:solidFill>
            <a:schemeClr val="accent1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1">
            <a:extLst>
              <a:ext uri="{FF2B5EF4-FFF2-40B4-BE49-F238E27FC236}">
                <a16:creationId xmlns:a16="http://schemas.microsoft.com/office/drawing/2014/main" id="{5509E178-6E41-481E-A917-22DA56BC5AE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white">
          <a:xfrm>
            <a:off x="13507442" y="5831211"/>
            <a:ext cx="5876888" cy="4344312"/>
          </a:xfrm>
          <a:solidFill>
            <a:schemeClr val="accent1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1475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block cl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con 3">
            <a:extLst>
              <a:ext uri="{FF2B5EF4-FFF2-40B4-BE49-F238E27FC236}">
                <a16:creationId xmlns:a16="http://schemas.microsoft.com/office/drawing/2014/main" id="{B2D13627-B515-4D6B-9A9E-48F73FA9E82D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1"/>
            </p:custDataLst>
          </p:nvPr>
        </p:nvSpPr>
        <p:spPr>
          <a:xfrm>
            <a:off x="13560859" y="2926777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Icon 2">
            <a:extLst>
              <a:ext uri="{FF2B5EF4-FFF2-40B4-BE49-F238E27FC236}">
                <a16:creationId xmlns:a16="http://schemas.microsoft.com/office/drawing/2014/main" id="{71722353-CFEF-4B2B-BD16-54DCCE1A2490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7177926" y="2926777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Icon 1">
            <a:extLst>
              <a:ext uri="{FF2B5EF4-FFF2-40B4-BE49-F238E27FC236}">
                <a16:creationId xmlns:a16="http://schemas.microsoft.com/office/drawing/2014/main" id="{067DAA0D-CBEC-4F64-A950-F3D469BB4EAA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3"/>
            </p:custDataLst>
          </p:nvPr>
        </p:nvSpPr>
        <p:spPr>
          <a:xfrm>
            <a:off x="746051" y="2926777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1">
            <a:extLst>
              <a:ext uri="{FF2B5EF4-FFF2-40B4-BE49-F238E27FC236}">
                <a16:creationId xmlns:a16="http://schemas.microsoft.com/office/drawing/2014/main" id="{5509E178-6E41-481E-A917-22DA56BC5A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725109" y="5817934"/>
            <a:ext cx="5876888" cy="4344312"/>
          </a:xfrm>
          <a:solidFill>
            <a:schemeClr val="accent2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1">
            <a:extLst>
              <a:ext uri="{FF2B5EF4-FFF2-40B4-BE49-F238E27FC236}">
                <a16:creationId xmlns:a16="http://schemas.microsoft.com/office/drawing/2014/main" id="{5509E178-6E41-481E-A917-22DA56BC5A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white">
          <a:xfrm>
            <a:off x="7177925" y="5817934"/>
            <a:ext cx="5876888" cy="4344312"/>
          </a:xfrm>
          <a:solidFill>
            <a:schemeClr val="accent2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1">
            <a:extLst>
              <a:ext uri="{FF2B5EF4-FFF2-40B4-BE49-F238E27FC236}">
                <a16:creationId xmlns:a16="http://schemas.microsoft.com/office/drawing/2014/main" id="{5509E178-6E41-481E-A917-22DA56BC5AE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white">
          <a:xfrm>
            <a:off x="13540982" y="5817934"/>
            <a:ext cx="5876888" cy="4344312"/>
          </a:xfrm>
          <a:solidFill>
            <a:schemeClr val="accent2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1898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block cl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con 3">
            <a:extLst>
              <a:ext uri="{FF2B5EF4-FFF2-40B4-BE49-F238E27FC236}">
                <a16:creationId xmlns:a16="http://schemas.microsoft.com/office/drawing/2014/main" id="{B2D13627-B515-4D6B-9A9E-48F73FA9E82D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1"/>
            </p:custDataLst>
          </p:nvPr>
        </p:nvSpPr>
        <p:spPr>
          <a:xfrm>
            <a:off x="13560859" y="2926777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3">
            <a:extLst>
              <a:ext uri="{FF2B5EF4-FFF2-40B4-BE49-F238E27FC236}">
                <a16:creationId xmlns:a16="http://schemas.microsoft.com/office/drawing/2014/main" id="{3C7E2B57-B66D-4688-98A5-C14B6ABDD4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13531177" y="5817934"/>
            <a:ext cx="5876888" cy="4344312"/>
          </a:xfrm>
          <a:solidFill>
            <a:schemeClr val="accent3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Icon 2">
            <a:extLst>
              <a:ext uri="{FF2B5EF4-FFF2-40B4-BE49-F238E27FC236}">
                <a16:creationId xmlns:a16="http://schemas.microsoft.com/office/drawing/2014/main" id="{71722353-CFEF-4B2B-BD16-54DCCE1A2490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7177926" y="2926777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Text 2">
            <a:extLst>
              <a:ext uri="{FF2B5EF4-FFF2-40B4-BE49-F238E27FC236}">
                <a16:creationId xmlns:a16="http://schemas.microsoft.com/office/drawing/2014/main" id="{C41F7B7F-C3B7-4AEB-871D-ABEFFDD3BA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white">
          <a:xfrm>
            <a:off x="7128143" y="5817934"/>
            <a:ext cx="5876888" cy="4344312"/>
          </a:xfrm>
          <a:solidFill>
            <a:schemeClr val="accent3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Icon 1">
            <a:extLst>
              <a:ext uri="{FF2B5EF4-FFF2-40B4-BE49-F238E27FC236}">
                <a16:creationId xmlns:a16="http://schemas.microsoft.com/office/drawing/2014/main" id="{067DAA0D-CBEC-4F64-A950-F3D469BB4EAA}"/>
              </a:ext>
            </a:extLst>
          </p:cNvPr>
          <p:cNvSpPr>
            <a:spLocks noGrp="1"/>
          </p:cNvSpPr>
          <p:nvPr>
            <p:ph type="pic" sz="quarter" idx="13"/>
            <p:custDataLst>
              <p:tags r:id="rId3"/>
            </p:custDataLst>
          </p:nvPr>
        </p:nvSpPr>
        <p:spPr>
          <a:xfrm>
            <a:off x="746051" y="2926777"/>
            <a:ext cx="5817525" cy="2908967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Text 1">
            <a:extLst>
              <a:ext uri="{FF2B5EF4-FFF2-40B4-BE49-F238E27FC236}">
                <a16:creationId xmlns:a16="http://schemas.microsoft.com/office/drawing/2014/main" id="{5509E178-6E41-481E-A917-22DA56BC5A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725109" y="5817934"/>
            <a:ext cx="5876888" cy="4344312"/>
          </a:xfrm>
          <a:solidFill>
            <a:schemeClr val="accent3"/>
          </a:solidFill>
        </p:spPr>
        <p:txBody>
          <a:bodyPr lIns="144000" tIns="144000" rIns="144000" bIns="144000"/>
          <a:lstStyle>
            <a:lvl1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2pPr>
            <a:lvl3pPr>
              <a:spcBef>
                <a:spcPts val="989"/>
              </a:spcBef>
              <a:spcAft>
                <a:spcPts val="989"/>
              </a:spcAft>
              <a:defRPr baseline="0">
                <a:solidFill>
                  <a:schemeClr val="bg1"/>
                </a:solidFill>
              </a:defRPr>
            </a:lvl3pPr>
            <a:lvl4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989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con 4">
            <a:extLst>
              <a:ext uri="{FF2B5EF4-FFF2-40B4-BE49-F238E27FC236}">
                <a16:creationId xmlns:a16="http://schemas.microsoft.com/office/drawing/2014/main" id="{F9353621-2159-452C-80DE-BB67DDACF0FF}"/>
              </a:ext>
            </a:extLst>
          </p:cNvPr>
          <p:cNvSpPr>
            <a:spLocks noGrp="1"/>
          </p:cNvSpPr>
          <p:nvPr>
            <p:ph type="pic" sz="quarter" idx="47"/>
            <p:custDataLst>
              <p:tags r:id="rId1"/>
            </p:custDataLst>
          </p:nvPr>
        </p:nvSpPr>
        <p:spPr>
          <a:xfrm>
            <a:off x="15823886" y="2864330"/>
            <a:ext cx="3561750" cy="1781000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Icon 3">
            <a:extLst>
              <a:ext uri="{FF2B5EF4-FFF2-40B4-BE49-F238E27FC236}">
                <a16:creationId xmlns:a16="http://schemas.microsoft.com/office/drawing/2014/main" id="{A1D3680D-5EB5-453B-BC18-C3232D5FF151}"/>
              </a:ext>
            </a:extLst>
          </p:cNvPr>
          <p:cNvSpPr>
            <a:spLocks noGrp="1"/>
          </p:cNvSpPr>
          <p:nvPr>
            <p:ph type="pic" sz="quarter" idx="46"/>
            <p:custDataLst>
              <p:tags r:id="rId2"/>
            </p:custDataLst>
          </p:nvPr>
        </p:nvSpPr>
        <p:spPr>
          <a:xfrm>
            <a:off x="11006479" y="2864330"/>
            <a:ext cx="3561750" cy="1781000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Icon 2">
            <a:extLst>
              <a:ext uri="{FF2B5EF4-FFF2-40B4-BE49-F238E27FC236}">
                <a16:creationId xmlns:a16="http://schemas.microsoft.com/office/drawing/2014/main" id="{635D4413-14BD-423B-91C2-58B89A5D0175}"/>
              </a:ext>
            </a:extLst>
          </p:cNvPr>
          <p:cNvSpPr>
            <a:spLocks noGrp="1"/>
          </p:cNvSpPr>
          <p:nvPr>
            <p:ph type="pic" sz="quarter" idx="45"/>
            <p:custDataLst>
              <p:tags r:id="rId3"/>
            </p:custDataLst>
          </p:nvPr>
        </p:nvSpPr>
        <p:spPr>
          <a:xfrm>
            <a:off x="6181816" y="2864330"/>
            <a:ext cx="3561750" cy="1781000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Icon 1">
            <a:extLst>
              <a:ext uri="{FF2B5EF4-FFF2-40B4-BE49-F238E27FC236}">
                <a16:creationId xmlns:a16="http://schemas.microsoft.com/office/drawing/2014/main" id="{B48970C1-9AD1-4312-8E1F-DA7E2B2664AC}"/>
              </a:ext>
            </a:extLst>
          </p:cNvPr>
          <p:cNvSpPr>
            <a:spLocks noGrp="1"/>
          </p:cNvSpPr>
          <p:nvPr>
            <p:ph type="pic" sz="quarter" idx="44"/>
            <p:custDataLst>
              <p:tags r:id="rId4"/>
            </p:custDataLst>
          </p:nvPr>
        </p:nvSpPr>
        <p:spPr>
          <a:xfrm>
            <a:off x="1357152" y="2864330"/>
            <a:ext cx="3561750" cy="1781000"/>
          </a:xfrm>
        </p:spPr>
        <p:txBody>
          <a:bodyPr/>
          <a:lstStyle>
            <a:lvl1pPr>
              <a:defRPr sz="2309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2778504-45FC-4485-A428-CBD653C99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48"/>
            <p:custDataLst>
              <p:tags r:id="rId5"/>
            </p:custDataLst>
          </p:nvPr>
        </p:nvSpPr>
        <p:spPr>
          <a:xfrm>
            <a:off x="706414" y="4648410"/>
            <a:ext cx="4214738" cy="0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49"/>
            <p:custDataLst>
              <p:tags r:id="rId6"/>
            </p:custDataLst>
          </p:nvPr>
        </p:nvSpPr>
        <p:spPr>
          <a:xfrm>
            <a:off x="5526649" y="4648410"/>
            <a:ext cx="4214738" cy="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50"/>
            <p:custDataLst>
              <p:tags r:id="rId7"/>
            </p:custDataLst>
          </p:nvPr>
        </p:nvSpPr>
        <p:spPr>
          <a:xfrm>
            <a:off x="10353087" y="4648410"/>
            <a:ext cx="4214738" cy="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51"/>
            <p:custDataLst>
              <p:tags r:id="rId8"/>
            </p:custDataLst>
          </p:nvPr>
        </p:nvSpPr>
        <p:spPr>
          <a:xfrm>
            <a:off x="15178991" y="4648410"/>
            <a:ext cx="4214738" cy="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52"/>
            <p:custDataLst>
              <p:tags r:id="rId9"/>
            </p:custDataLst>
          </p:nvPr>
        </p:nvSpPr>
        <p:spPr>
          <a:xfrm rot="5400000">
            <a:off x="4653989" y="3716372"/>
            <a:ext cx="890500" cy="5401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53"/>
            <p:custDataLst>
              <p:tags r:id="rId10"/>
            </p:custDataLst>
          </p:nvPr>
        </p:nvSpPr>
        <p:spPr>
          <a:xfrm rot="5400000">
            <a:off x="9474224" y="3716372"/>
            <a:ext cx="890500" cy="5401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54"/>
            <p:custDataLst>
              <p:tags r:id="rId11"/>
            </p:custDataLst>
          </p:nvPr>
        </p:nvSpPr>
        <p:spPr>
          <a:xfrm rot="5400000">
            <a:off x="14294459" y="3716372"/>
            <a:ext cx="890500" cy="5401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Text 4">
            <a:extLst>
              <a:ext uri="{FF2B5EF4-FFF2-40B4-BE49-F238E27FC236}">
                <a16:creationId xmlns:a16="http://schemas.microsoft.com/office/drawing/2014/main" id="{95FF0C88-C48F-4449-AA87-CD481E928760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 bwMode="white">
          <a:xfrm>
            <a:off x="15178160" y="4730997"/>
            <a:ext cx="4214738" cy="5608435"/>
          </a:xfrm>
          <a:solidFill>
            <a:schemeClr val="bg1"/>
          </a:solidFill>
        </p:spPr>
        <p:txBody>
          <a:bodyPr tIns="144000"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9" name="Text 3">
            <a:extLst>
              <a:ext uri="{FF2B5EF4-FFF2-40B4-BE49-F238E27FC236}">
                <a16:creationId xmlns:a16="http://schemas.microsoft.com/office/drawing/2014/main" id="{E06EB8AF-4D99-4719-996B-BDFA2DE9DDB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white">
          <a:xfrm>
            <a:off x="10353494" y="4730997"/>
            <a:ext cx="4214738" cy="5608435"/>
          </a:xfrm>
          <a:solidFill>
            <a:schemeClr val="bg1"/>
          </a:solidFill>
        </p:spPr>
        <p:txBody>
          <a:bodyPr tIns="144000"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Text 2">
            <a:extLst>
              <a:ext uri="{FF2B5EF4-FFF2-40B4-BE49-F238E27FC236}">
                <a16:creationId xmlns:a16="http://schemas.microsoft.com/office/drawing/2014/main" id="{D03811D2-80AE-4595-A6D8-5E3AA568E4E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 bwMode="white">
          <a:xfrm>
            <a:off x="5528830" y="4730997"/>
            <a:ext cx="4214738" cy="5608435"/>
          </a:xfrm>
          <a:solidFill>
            <a:schemeClr val="bg1"/>
          </a:solidFill>
        </p:spPr>
        <p:txBody>
          <a:bodyPr tIns="144000"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0" name="Text 1">
            <a:extLst>
              <a:ext uri="{FF2B5EF4-FFF2-40B4-BE49-F238E27FC236}">
                <a16:creationId xmlns:a16="http://schemas.microsoft.com/office/drawing/2014/main" id="{5509E178-6E41-481E-A917-22DA56BC5A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white">
          <a:xfrm>
            <a:off x="704166" y="4729007"/>
            <a:ext cx="4214738" cy="5608435"/>
          </a:xfrm>
          <a:solidFill>
            <a:schemeClr val="bg1"/>
          </a:solidFill>
        </p:spPr>
        <p:txBody>
          <a:bodyPr tIns="144000"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476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rocess Text 3">
            <a:extLst>
              <a:ext uri="{FF2B5EF4-FFF2-40B4-BE49-F238E27FC236}">
                <a16:creationId xmlns:a16="http://schemas.microsoft.com/office/drawing/2014/main" id="{4603824C-D88A-4EA3-89B2-EBC6D17143E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3969231" y="4548268"/>
            <a:ext cx="5390115" cy="5285550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End Process">
            <a:extLst>
              <a:ext uri="{FF2B5EF4-FFF2-40B4-BE49-F238E27FC236}">
                <a16:creationId xmlns:a16="http://schemas.microsoft.com/office/drawing/2014/main" id="{3E1FF86D-6B0D-42A8-8302-42FF7B83ED7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978456" y="2864284"/>
            <a:ext cx="5390115" cy="1365433"/>
          </a:xfrm>
          <a:solidFill>
            <a:schemeClr val="accent1"/>
          </a:solidFill>
        </p:spPr>
        <p:txBody>
          <a:bodyPr lIns="144000" tIns="144000" rIns="144000" bIns="144000" anchor="ctr" anchorCtr="0">
            <a:noAutofit/>
          </a:bodyPr>
          <a:lstStyle>
            <a:lvl1pPr algn="ctr">
              <a:defRPr sz="3958" b="1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10" name="Process Text 2">
            <a:extLst>
              <a:ext uri="{FF2B5EF4-FFF2-40B4-BE49-F238E27FC236}">
                <a16:creationId xmlns:a16="http://schemas.microsoft.com/office/drawing/2014/main" id="{A87FC57D-32C4-4ABA-BB18-017B8295D35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40513" y="4528977"/>
            <a:ext cx="5390115" cy="5285550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rocess 2">
            <a:extLst>
              <a:ext uri="{FF2B5EF4-FFF2-40B4-BE49-F238E27FC236}">
                <a16:creationId xmlns:a16="http://schemas.microsoft.com/office/drawing/2014/main" id="{2AFC1085-0DE3-4EB3-B383-EEF8A0659B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50817" y="2864284"/>
            <a:ext cx="5390115" cy="1365433"/>
          </a:xfrm>
          <a:solidFill>
            <a:schemeClr val="accent2"/>
          </a:solidFill>
        </p:spPr>
        <p:txBody>
          <a:bodyPr lIns="144000" tIns="144000" rIns="144000" bIns="144000" anchor="ctr" anchorCtr="0">
            <a:noAutofit/>
          </a:bodyPr>
          <a:lstStyle>
            <a:lvl1pPr algn="ctr">
              <a:defRPr sz="3958" b="1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9" name="Process Text 1">
            <a:extLst>
              <a:ext uri="{FF2B5EF4-FFF2-40B4-BE49-F238E27FC236}">
                <a16:creationId xmlns:a16="http://schemas.microsoft.com/office/drawing/2014/main" id="{6B762D70-B342-4470-AF5D-496DC9CC4AF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1796" y="4526359"/>
            <a:ext cx="5390115" cy="5285550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rocess 1">
            <a:extLst>
              <a:ext uri="{FF2B5EF4-FFF2-40B4-BE49-F238E27FC236}">
                <a16:creationId xmlns:a16="http://schemas.microsoft.com/office/drawing/2014/main" id="{92DC620B-9FA0-4FC8-8001-8A0BD959CF2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2350" y="2864284"/>
            <a:ext cx="5390115" cy="1365433"/>
          </a:xfrm>
          <a:solidFill>
            <a:schemeClr val="accent2"/>
          </a:solidFill>
        </p:spPr>
        <p:txBody>
          <a:bodyPr lIns="144000" tIns="144000" rIns="144000" bIns="144000" anchor="ctr" anchorCtr="0">
            <a:noAutofit/>
          </a:bodyPr>
          <a:lstStyle>
            <a:lvl1pPr algn="ctr">
              <a:defRPr sz="3958" b="1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text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DC17EFC-D76C-4D5A-98E1-1C683F5F32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24"/>
            <p:custDataLst>
              <p:tags r:id="rId1"/>
            </p:custDataLst>
          </p:nvPr>
        </p:nvSpPr>
        <p:spPr>
          <a:xfrm rot="5400000">
            <a:off x="5924344" y="3193952"/>
            <a:ext cx="949867" cy="712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25"/>
            <p:custDataLst>
              <p:tags r:id="rId2"/>
            </p:custDataLst>
          </p:nvPr>
        </p:nvSpPr>
        <p:spPr>
          <a:xfrm rot="5400000">
            <a:off x="12561072" y="3193952"/>
            <a:ext cx="949867" cy="712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9396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V 2">
            <a:extLst>
              <a:ext uri="{FF2B5EF4-FFF2-40B4-BE49-F238E27FC236}">
                <a16:creationId xmlns:a16="http://schemas.microsoft.com/office/drawing/2014/main" id="{68549607-FCF5-4825-9DC9-DDEB4E1A69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62459" y="5996034"/>
            <a:ext cx="9049462" cy="4239481"/>
          </a:xfrm>
          <a:solidFill>
            <a:schemeClr val="bg1"/>
          </a:solidFill>
        </p:spPr>
        <p:txBody>
          <a:bodyPr lIns="0" tIns="144000" rIns="0" bIns="0"/>
          <a:lstStyle>
            <a:lvl1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tx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tx1"/>
                </a:solidFill>
              </a:defRPr>
            </a:lvl2pPr>
            <a:lvl3pPr marL="0" indent="0">
              <a:spcBef>
                <a:spcPts val="989"/>
              </a:spcBef>
              <a:spcAft>
                <a:spcPts val="989"/>
              </a:spcAft>
              <a:buClr>
                <a:schemeClr val="tx1"/>
              </a:buClr>
              <a:buFont typeface="Arial" panose="020B0604020202020204" pitchFamily="34" charset="0"/>
              <a:buNone/>
              <a:defRPr sz="2638" b="0">
                <a:solidFill>
                  <a:schemeClr val="tx1"/>
                </a:solidFill>
              </a:defRPr>
            </a:lvl3pPr>
            <a:lvl4pPr marL="1187280" indent="-1187280">
              <a:spcBef>
                <a:spcPts val="989"/>
              </a:spcBef>
              <a:spcAft>
                <a:spcPts val="989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638">
                <a:solidFill>
                  <a:schemeClr val="tx1"/>
                </a:solidFill>
              </a:defRPr>
            </a:lvl4pPr>
            <a:lvl5pPr marL="2374560">
              <a:spcBef>
                <a:spcPts val="989"/>
              </a:spcBef>
              <a:spcAft>
                <a:spcPts val="989"/>
              </a:spcAft>
              <a:buClr>
                <a:schemeClr val="tx1"/>
              </a:buClr>
              <a:defRPr sz="2638">
                <a:solidFill>
                  <a:schemeClr val="tx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defRPr sz="2638"/>
            </a:lvl6pPr>
            <a:lvl7pPr>
              <a:spcBef>
                <a:spcPts val="989"/>
              </a:spcBef>
              <a:spcAft>
                <a:spcPts val="989"/>
              </a:spcAft>
              <a:defRPr sz="2638"/>
            </a:lvl7pPr>
            <a:lvl8pPr>
              <a:spcBef>
                <a:spcPts val="989"/>
              </a:spcBef>
              <a:spcAft>
                <a:spcPts val="989"/>
              </a:spcAft>
              <a:defRPr sz="2638"/>
            </a:lvl8pPr>
            <a:lvl9pPr>
              <a:spcBef>
                <a:spcPts val="989"/>
              </a:spcBef>
              <a:spcAft>
                <a:spcPts val="989"/>
              </a:spcAft>
              <a:defRPr sz="263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9" name="Line 2">
            <a:extLst>
              <a:ext uri="{FF2B5EF4-FFF2-40B4-BE49-F238E27FC236}">
                <a16:creationId xmlns:a16="http://schemas.microsoft.com/office/drawing/2014/main" id="{700C24CD-66AD-496B-B709-AA81D5C7D2BC}"/>
              </a:ext>
            </a:extLst>
          </p:cNvPr>
          <p:cNvCxnSpPr>
            <a:cxnSpLocks/>
          </p:cNvCxnSpPr>
          <p:nvPr userDrawn="1"/>
        </p:nvCxnSpPr>
        <p:spPr>
          <a:xfrm>
            <a:off x="10362458" y="5936667"/>
            <a:ext cx="9082463" cy="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ic 2">
            <a:extLst>
              <a:ext uri="{FF2B5EF4-FFF2-40B4-BE49-F238E27FC236}">
                <a16:creationId xmlns:a16="http://schemas.microsoft.com/office/drawing/2014/main" id="{2CD67642-08E4-4F71-AFF3-28ECE209BDBA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1"/>
            </p:custDataLst>
          </p:nvPr>
        </p:nvSpPr>
        <p:spPr>
          <a:xfrm>
            <a:off x="10362458" y="2887549"/>
            <a:ext cx="2968125" cy="296833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2309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CV 1">
            <a:extLst>
              <a:ext uri="{FF2B5EF4-FFF2-40B4-BE49-F238E27FC236}">
                <a16:creationId xmlns:a16="http://schemas.microsoft.com/office/drawing/2014/main" id="{D964B057-0107-4A3C-837C-6761098730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5109" y="5996034"/>
            <a:ext cx="9049462" cy="4239481"/>
          </a:xfrm>
          <a:solidFill>
            <a:schemeClr val="bg1"/>
          </a:solidFill>
        </p:spPr>
        <p:txBody>
          <a:bodyPr lIns="0" tIns="144000" rIns="0" bIns="0"/>
          <a:lstStyle>
            <a:lvl1pPr>
              <a:spcBef>
                <a:spcPts val="989"/>
              </a:spcBef>
              <a:spcAft>
                <a:spcPts val="989"/>
              </a:spcAft>
              <a:defRPr sz="2638" baseline="0">
                <a:solidFill>
                  <a:schemeClr val="tx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tx1"/>
                </a:solidFill>
              </a:defRPr>
            </a:lvl2pPr>
            <a:lvl3pPr marL="0" indent="0">
              <a:spcBef>
                <a:spcPts val="989"/>
              </a:spcBef>
              <a:spcAft>
                <a:spcPts val="989"/>
              </a:spcAft>
              <a:buClr>
                <a:schemeClr val="tx1"/>
              </a:buClr>
              <a:buFont typeface="Arial" panose="020B0604020202020204" pitchFamily="34" charset="0"/>
              <a:buNone/>
              <a:defRPr sz="2638" b="0">
                <a:solidFill>
                  <a:schemeClr val="tx1"/>
                </a:solidFill>
              </a:defRPr>
            </a:lvl3pPr>
            <a:lvl4pPr marL="1187280" indent="-1187280">
              <a:spcBef>
                <a:spcPts val="989"/>
              </a:spcBef>
              <a:spcAft>
                <a:spcPts val="989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2638">
                <a:solidFill>
                  <a:schemeClr val="tx1"/>
                </a:solidFill>
              </a:defRPr>
            </a:lvl4pPr>
            <a:lvl5pPr marL="2374560">
              <a:spcBef>
                <a:spcPts val="989"/>
              </a:spcBef>
              <a:spcAft>
                <a:spcPts val="989"/>
              </a:spcAft>
              <a:buClr>
                <a:schemeClr val="tx1"/>
              </a:buClr>
              <a:defRPr sz="2638">
                <a:solidFill>
                  <a:schemeClr val="tx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defRPr sz="2638"/>
            </a:lvl6pPr>
            <a:lvl7pPr>
              <a:spcBef>
                <a:spcPts val="989"/>
              </a:spcBef>
              <a:spcAft>
                <a:spcPts val="989"/>
              </a:spcAft>
              <a:buAutoNum type="arabicPeriod"/>
              <a:defRPr sz="2638"/>
            </a:lvl7pPr>
            <a:lvl8pPr>
              <a:spcBef>
                <a:spcPts val="989"/>
              </a:spcBef>
              <a:spcAft>
                <a:spcPts val="989"/>
              </a:spcAft>
              <a:buAutoNum type="alphaLcPeriod"/>
              <a:defRPr sz="2638"/>
            </a:lvl8pPr>
            <a:lvl9pPr>
              <a:spcBef>
                <a:spcPts val="989"/>
              </a:spcBef>
              <a:spcAft>
                <a:spcPts val="989"/>
              </a:spcAft>
              <a:defRPr sz="263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28" name="Line 1">
            <a:extLst>
              <a:ext uri="{FF2B5EF4-FFF2-40B4-BE49-F238E27FC236}">
                <a16:creationId xmlns:a16="http://schemas.microsoft.com/office/drawing/2014/main" id="{43EC1951-EFC4-471A-991F-2430BC703A6C}"/>
              </a:ext>
            </a:extLst>
          </p:cNvPr>
          <p:cNvCxnSpPr>
            <a:cxnSpLocks/>
          </p:cNvCxnSpPr>
          <p:nvPr userDrawn="1"/>
        </p:nvCxnSpPr>
        <p:spPr>
          <a:xfrm>
            <a:off x="725108" y="5936667"/>
            <a:ext cx="9082463" cy="0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ic 1">
            <a:extLst>
              <a:ext uri="{FF2B5EF4-FFF2-40B4-BE49-F238E27FC236}">
                <a16:creationId xmlns:a16="http://schemas.microsoft.com/office/drawing/2014/main" id="{28A576B3-AD38-416E-B04E-883DBE03B78E}"/>
              </a:ext>
            </a:extLst>
          </p:cNvPr>
          <p:cNvSpPr>
            <a:spLocks noGrp="1"/>
          </p:cNvSpPr>
          <p:nvPr>
            <p:ph type="pic" sz="quarter" idx="10"/>
            <p:custDataLst>
              <p:tags r:id="rId2"/>
            </p:custDataLst>
          </p:nvPr>
        </p:nvSpPr>
        <p:spPr>
          <a:xfrm>
            <a:off x="725108" y="2887549"/>
            <a:ext cx="2968125" cy="296833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2309" b="0" dirty="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14DBE34-00F3-4FBE-A1E4-9160ED5DF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 hasCustomPrompt="1"/>
            <p:custDataLst>
              <p:tags r:id="rId3"/>
            </p:custDataLst>
          </p:nvPr>
        </p:nvSpPr>
        <p:spPr>
          <a:xfrm>
            <a:off x="3852349" y="3932851"/>
            <a:ext cx="6080964" cy="1885078"/>
          </a:xfrm>
        </p:spPr>
        <p:txBody>
          <a:bodyPr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79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5277" b="0" i="0" u="none" strike="noStrike" kern="1200" cap="none" spc="0" normalizeH="0" baseline="0" noProof="0" dirty="0">
              <a:ln>
                <a:noFill/>
              </a:ln>
              <a:solidFill>
                <a:srgbClr val="003145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9" hasCustomPrompt="1"/>
            <p:custDataLst>
              <p:tags r:id="rId4"/>
            </p:custDataLst>
          </p:nvPr>
        </p:nvSpPr>
        <p:spPr>
          <a:xfrm>
            <a:off x="13529511" y="3932851"/>
            <a:ext cx="6080964" cy="1885078"/>
          </a:xfrm>
        </p:spPr>
        <p:txBody>
          <a:bodyPr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79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5277" b="0" i="0" u="none" strike="noStrike" kern="1200" cap="none" spc="0" normalizeH="0" baseline="0" noProof="0" dirty="0">
              <a:ln>
                <a:noFill/>
              </a:ln>
              <a:solidFill>
                <a:srgbClr val="003145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0016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Vs cl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V 2">
            <a:extLst>
              <a:ext uri="{FF2B5EF4-FFF2-40B4-BE49-F238E27FC236}">
                <a16:creationId xmlns:a16="http://schemas.microsoft.com/office/drawing/2014/main" id="{68549607-FCF5-4825-9DC9-DDEB4E1A69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62459" y="5936667"/>
            <a:ext cx="9049462" cy="4239481"/>
          </a:xfrm>
          <a:solidFill>
            <a:schemeClr val="accent1"/>
          </a:solidFill>
        </p:spPr>
        <p:txBody>
          <a:bodyPr lIns="180000" tIns="180000" rIns="180000" bIns="180000"/>
          <a:lstStyle>
            <a:lvl1pPr>
              <a:spcBef>
                <a:spcPts val="989"/>
              </a:spcBef>
              <a:spcAft>
                <a:spcPts val="989"/>
              </a:spcAft>
              <a:defRPr sz="2638"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sz="2638" baseline="0">
                <a:solidFill>
                  <a:schemeClr val="bg1"/>
                </a:solidFill>
              </a:defRPr>
            </a:lvl2pPr>
            <a:lvl3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None/>
              <a:defRPr sz="2638" b="0" baseline="0">
                <a:solidFill>
                  <a:schemeClr val="bg1"/>
                </a:solidFill>
              </a:defRPr>
            </a:lvl3pPr>
            <a:lvl4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638" baseline="0">
                <a:solidFill>
                  <a:schemeClr val="bg1"/>
                </a:solidFill>
              </a:defRPr>
            </a:lvl4pPr>
            <a:lvl5pPr marL="237456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sz="2638"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sz="2638"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Pic 2">
            <a:extLst>
              <a:ext uri="{FF2B5EF4-FFF2-40B4-BE49-F238E27FC236}">
                <a16:creationId xmlns:a16="http://schemas.microsoft.com/office/drawing/2014/main" id="{2CD67642-08E4-4F71-AFF3-28ECE209BDBA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1"/>
            </p:custDataLst>
          </p:nvPr>
        </p:nvSpPr>
        <p:spPr>
          <a:xfrm>
            <a:off x="10362458" y="2887549"/>
            <a:ext cx="2968125" cy="296833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2309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CV 1">
            <a:extLst>
              <a:ext uri="{FF2B5EF4-FFF2-40B4-BE49-F238E27FC236}">
                <a16:creationId xmlns:a16="http://schemas.microsoft.com/office/drawing/2014/main" id="{D964B057-0107-4A3C-837C-6761098730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5109" y="5936667"/>
            <a:ext cx="9049462" cy="4239481"/>
          </a:xfrm>
          <a:solidFill>
            <a:schemeClr val="accent1"/>
          </a:solidFill>
        </p:spPr>
        <p:txBody>
          <a:bodyPr lIns="180000" tIns="180000" rIns="180000" bIns="180000"/>
          <a:lstStyle>
            <a:lvl1pPr>
              <a:spcBef>
                <a:spcPts val="989"/>
              </a:spcBef>
              <a:spcAft>
                <a:spcPts val="989"/>
              </a:spcAft>
              <a:defRPr sz="2638"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sz="2638" baseline="0">
                <a:solidFill>
                  <a:schemeClr val="bg1"/>
                </a:solidFill>
              </a:defRPr>
            </a:lvl2pPr>
            <a:lvl3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None/>
              <a:defRPr sz="2638" b="0" baseline="0">
                <a:solidFill>
                  <a:schemeClr val="bg1"/>
                </a:solidFill>
              </a:defRPr>
            </a:lvl3pPr>
            <a:lvl4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638" baseline="0">
                <a:solidFill>
                  <a:schemeClr val="bg1"/>
                </a:solidFill>
              </a:defRPr>
            </a:lvl4pPr>
            <a:lvl5pPr marL="237456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sz="2638"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sz="2638"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Pic 1">
            <a:extLst>
              <a:ext uri="{FF2B5EF4-FFF2-40B4-BE49-F238E27FC236}">
                <a16:creationId xmlns:a16="http://schemas.microsoft.com/office/drawing/2014/main" id="{28A576B3-AD38-416E-B04E-883DBE03B78E}"/>
              </a:ext>
            </a:extLst>
          </p:cNvPr>
          <p:cNvSpPr>
            <a:spLocks noGrp="1"/>
          </p:cNvSpPr>
          <p:nvPr>
            <p:ph type="pic" sz="quarter" idx="10"/>
            <p:custDataLst>
              <p:tags r:id="rId2"/>
            </p:custDataLst>
          </p:nvPr>
        </p:nvSpPr>
        <p:spPr>
          <a:xfrm>
            <a:off x="725108" y="2887549"/>
            <a:ext cx="2968125" cy="296833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2309" b="0" dirty="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14DBE34-00F3-4FBE-A1E4-9160ED5DF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Content Placeholder 3"/>
          <p:cNvSpPr>
            <a:spLocks noGrp="1"/>
          </p:cNvSpPr>
          <p:nvPr>
            <p:ph sz="quarter" idx="18" hasCustomPrompt="1"/>
            <p:custDataLst>
              <p:tags r:id="rId3"/>
            </p:custDataLst>
          </p:nvPr>
        </p:nvSpPr>
        <p:spPr>
          <a:xfrm>
            <a:off x="3852349" y="3932851"/>
            <a:ext cx="6080964" cy="1885078"/>
          </a:xfrm>
        </p:spPr>
        <p:txBody>
          <a:bodyPr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79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5277" b="0" i="0" u="none" strike="noStrike" kern="1200" cap="none" spc="0" normalizeH="0" baseline="0" noProof="0" dirty="0">
              <a:ln>
                <a:noFill/>
              </a:ln>
              <a:solidFill>
                <a:srgbClr val="003145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9" hasCustomPrompt="1"/>
            <p:custDataLst>
              <p:tags r:id="rId4"/>
            </p:custDataLst>
          </p:nvPr>
        </p:nvSpPr>
        <p:spPr>
          <a:xfrm>
            <a:off x="13529511" y="3932851"/>
            <a:ext cx="6080964" cy="1885078"/>
          </a:xfrm>
        </p:spPr>
        <p:txBody>
          <a:bodyPr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79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5277" b="0" i="0" u="none" strike="noStrike" kern="1200" cap="none" spc="0" normalizeH="0" baseline="0" noProof="0" dirty="0">
              <a:ln>
                <a:noFill/>
              </a:ln>
              <a:solidFill>
                <a:srgbClr val="003145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09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Vs cl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V 2">
            <a:extLst>
              <a:ext uri="{FF2B5EF4-FFF2-40B4-BE49-F238E27FC236}">
                <a16:creationId xmlns:a16="http://schemas.microsoft.com/office/drawing/2014/main" id="{68549607-FCF5-4825-9DC9-DDEB4E1A69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62459" y="5936667"/>
            <a:ext cx="9049462" cy="4239481"/>
          </a:xfrm>
          <a:solidFill>
            <a:schemeClr val="accent2"/>
          </a:solidFill>
        </p:spPr>
        <p:txBody>
          <a:bodyPr lIns="180000" tIns="180000" rIns="180000" bIns="180000"/>
          <a:lstStyle>
            <a:lvl1pPr>
              <a:spcBef>
                <a:spcPts val="989"/>
              </a:spcBef>
              <a:spcAft>
                <a:spcPts val="989"/>
              </a:spcAft>
              <a:defRPr sz="2638"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sz="2638" baseline="0">
                <a:solidFill>
                  <a:schemeClr val="bg1"/>
                </a:solidFill>
              </a:defRPr>
            </a:lvl2pPr>
            <a:lvl3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None/>
              <a:defRPr sz="2638" b="0" baseline="0">
                <a:solidFill>
                  <a:schemeClr val="bg1"/>
                </a:solidFill>
              </a:defRPr>
            </a:lvl3pPr>
            <a:lvl4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638" baseline="0">
                <a:solidFill>
                  <a:schemeClr val="bg1"/>
                </a:solidFill>
              </a:defRPr>
            </a:lvl4pPr>
            <a:lvl5pPr marL="237456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sz="2638"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sz="2638"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Pic 2">
            <a:extLst>
              <a:ext uri="{FF2B5EF4-FFF2-40B4-BE49-F238E27FC236}">
                <a16:creationId xmlns:a16="http://schemas.microsoft.com/office/drawing/2014/main" id="{2CD67642-08E4-4F71-AFF3-28ECE209BDBA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1"/>
            </p:custDataLst>
          </p:nvPr>
        </p:nvSpPr>
        <p:spPr>
          <a:xfrm>
            <a:off x="10362458" y="2887549"/>
            <a:ext cx="2968125" cy="296833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2309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CV 1">
            <a:extLst>
              <a:ext uri="{FF2B5EF4-FFF2-40B4-BE49-F238E27FC236}">
                <a16:creationId xmlns:a16="http://schemas.microsoft.com/office/drawing/2014/main" id="{D964B057-0107-4A3C-837C-6761098730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5109" y="5936667"/>
            <a:ext cx="9049462" cy="4239481"/>
          </a:xfrm>
          <a:solidFill>
            <a:schemeClr val="accent2"/>
          </a:solidFill>
        </p:spPr>
        <p:txBody>
          <a:bodyPr lIns="180000" tIns="180000" rIns="180000" bIns="180000"/>
          <a:lstStyle>
            <a:lvl1pPr>
              <a:spcBef>
                <a:spcPts val="989"/>
              </a:spcBef>
              <a:spcAft>
                <a:spcPts val="989"/>
              </a:spcAft>
              <a:tabLst/>
              <a:defRPr sz="2638"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sz="2638" baseline="0">
                <a:solidFill>
                  <a:schemeClr val="bg1"/>
                </a:solidFill>
              </a:defRPr>
            </a:lvl2pPr>
            <a:lvl3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None/>
              <a:defRPr sz="2638" b="0" baseline="0">
                <a:solidFill>
                  <a:schemeClr val="bg1"/>
                </a:solidFill>
              </a:defRPr>
            </a:lvl3pPr>
            <a:lvl4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638" baseline="0">
                <a:solidFill>
                  <a:schemeClr val="bg1"/>
                </a:solidFill>
              </a:defRPr>
            </a:lvl4pPr>
            <a:lvl5pPr marL="237456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sz="2638"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sz="2638"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Pic 1">
            <a:extLst>
              <a:ext uri="{FF2B5EF4-FFF2-40B4-BE49-F238E27FC236}">
                <a16:creationId xmlns:a16="http://schemas.microsoft.com/office/drawing/2014/main" id="{28A576B3-AD38-416E-B04E-883DBE03B78E}"/>
              </a:ext>
            </a:extLst>
          </p:cNvPr>
          <p:cNvSpPr>
            <a:spLocks noGrp="1"/>
          </p:cNvSpPr>
          <p:nvPr>
            <p:ph type="pic" sz="quarter" idx="10"/>
            <p:custDataLst>
              <p:tags r:id="rId2"/>
            </p:custDataLst>
          </p:nvPr>
        </p:nvSpPr>
        <p:spPr>
          <a:xfrm>
            <a:off x="725108" y="2887549"/>
            <a:ext cx="2968125" cy="296833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2309" b="0" dirty="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14DBE34-00F3-4FBE-A1E4-9160ED5DF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 hasCustomPrompt="1"/>
            <p:custDataLst>
              <p:tags r:id="rId3"/>
            </p:custDataLst>
          </p:nvPr>
        </p:nvSpPr>
        <p:spPr>
          <a:xfrm>
            <a:off x="3852349" y="3932851"/>
            <a:ext cx="6080964" cy="1885078"/>
          </a:xfrm>
        </p:spPr>
        <p:txBody>
          <a:bodyPr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79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5277" b="0" i="0" u="none" strike="noStrike" kern="1200" cap="none" spc="0" normalizeH="0" baseline="0" noProof="0" dirty="0">
              <a:ln>
                <a:noFill/>
              </a:ln>
              <a:solidFill>
                <a:srgbClr val="003145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 hasCustomPrompt="1"/>
            <p:custDataLst>
              <p:tags r:id="rId4"/>
            </p:custDataLst>
          </p:nvPr>
        </p:nvSpPr>
        <p:spPr>
          <a:xfrm>
            <a:off x="13529511" y="3932851"/>
            <a:ext cx="6080964" cy="1885078"/>
          </a:xfrm>
        </p:spPr>
        <p:txBody>
          <a:bodyPr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79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5277" b="0" i="0" u="none" strike="noStrike" kern="1200" cap="none" spc="0" normalizeH="0" baseline="0" noProof="0" dirty="0">
              <a:ln>
                <a:noFill/>
              </a:ln>
              <a:solidFill>
                <a:srgbClr val="003145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2664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33ED30E-2EA6-23C4-9FBD-99D04C5862C6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0"/>
            <a:ext cx="20130835" cy="11309350"/>
          </a:xfrm>
          <a:prstGeom prst="rect">
            <a:avLst/>
          </a:prstGeom>
        </p:spPr>
      </p:pic>
      <p:sp>
        <p:nvSpPr>
          <p:cNvPr id="5" name="Text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711634" y="2853865"/>
            <a:ext cx="5936250" cy="406037"/>
          </a:xfrm>
        </p:spPr>
        <p:txBody>
          <a:bodyPr wrap="square">
            <a:spAutoFit/>
          </a:bodyPr>
          <a:lstStyle>
            <a:lvl1pPr>
              <a:defRPr sz="2638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Date</a:t>
            </a:r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711634" y="2017269"/>
            <a:ext cx="11575688" cy="558301"/>
          </a:xfrm>
        </p:spPr>
        <p:txBody>
          <a:bodyPr wrap="square">
            <a:spAutoFit/>
          </a:bodyPr>
          <a:lstStyle>
            <a:lvl1pPr marL="0" indent="0" algn="l">
              <a:buNone/>
              <a:defRPr sz="3628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95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91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0878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783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479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175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871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567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 bwMode="white">
          <a:xfrm>
            <a:off x="711634" y="1241783"/>
            <a:ext cx="11575688" cy="710565"/>
          </a:xfrm>
        </p:spPr>
        <p:txBody>
          <a:bodyPr wrap="square">
            <a:spAutoFit/>
          </a:bodyPr>
          <a:lstStyle>
            <a:lvl1pPr algn="l">
              <a:defRPr sz="4617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8990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Vs cl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V 2">
            <a:extLst>
              <a:ext uri="{FF2B5EF4-FFF2-40B4-BE49-F238E27FC236}">
                <a16:creationId xmlns:a16="http://schemas.microsoft.com/office/drawing/2014/main" id="{68549607-FCF5-4825-9DC9-DDEB4E1A693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62459" y="5936667"/>
            <a:ext cx="9049462" cy="4239481"/>
          </a:xfrm>
          <a:solidFill>
            <a:schemeClr val="accent3"/>
          </a:solidFill>
        </p:spPr>
        <p:txBody>
          <a:bodyPr lIns="180000" tIns="180000" rIns="180000" bIns="180000"/>
          <a:lstStyle>
            <a:lvl1pPr>
              <a:spcBef>
                <a:spcPts val="989"/>
              </a:spcBef>
              <a:spcAft>
                <a:spcPts val="989"/>
              </a:spcAft>
              <a:defRPr sz="2638"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sz="2638" baseline="0">
                <a:solidFill>
                  <a:schemeClr val="bg1"/>
                </a:solidFill>
              </a:defRPr>
            </a:lvl2pPr>
            <a:lvl3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None/>
              <a:defRPr sz="2638" b="0" baseline="0">
                <a:solidFill>
                  <a:schemeClr val="bg1"/>
                </a:solidFill>
              </a:defRPr>
            </a:lvl3pPr>
            <a:lvl4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638" baseline="0">
                <a:solidFill>
                  <a:schemeClr val="bg1"/>
                </a:solidFill>
              </a:defRPr>
            </a:lvl4pPr>
            <a:lvl5pPr marL="237456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sz="2638"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sz="2638"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Pic 2">
            <a:extLst>
              <a:ext uri="{FF2B5EF4-FFF2-40B4-BE49-F238E27FC236}">
                <a16:creationId xmlns:a16="http://schemas.microsoft.com/office/drawing/2014/main" id="{2CD67642-08E4-4F71-AFF3-28ECE209BDBA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1"/>
            </p:custDataLst>
          </p:nvPr>
        </p:nvSpPr>
        <p:spPr>
          <a:xfrm>
            <a:off x="10362458" y="2887549"/>
            <a:ext cx="2968125" cy="2968333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2309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 1">
            <a:extLst>
              <a:ext uri="{FF2B5EF4-FFF2-40B4-BE49-F238E27FC236}">
                <a16:creationId xmlns:a16="http://schemas.microsoft.com/office/drawing/2014/main" id="{28A576B3-AD38-416E-B04E-883DBE03B78E}"/>
              </a:ext>
            </a:extLst>
          </p:cNvPr>
          <p:cNvSpPr>
            <a:spLocks noGrp="1"/>
          </p:cNvSpPr>
          <p:nvPr>
            <p:ph type="pic" sz="quarter" idx="10"/>
            <p:custDataLst>
              <p:tags r:id="rId2"/>
            </p:custDataLst>
          </p:nvPr>
        </p:nvSpPr>
        <p:spPr>
          <a:xfrm>
            <a:off x="725108" y="2887549"/>
            <a:ext cx="2968125" cy="296833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2309" b="0" dirty="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CV 1">
            <a:extLst>
              <a:ext uri="{FF2B5EF4-FFF2-40B4-BE49-F238E27FC236}">
                <a16:creationId xmlns:a16="http://schemas.microsoft.com/office/drawing/2014/main" id="{D964B057-0107-4A3C-837C-6761098730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5109" y="5936667"/>
            <a:ext cx="9049462" cy="4239481"/>
          </a:xfrm>
          <a:solidFill>
            <a:schemeClr val="accent3"/>
          </a:solidFill>
        </p:spPr>
        <p:txBody>
          <a:bodyPr lIns="180000" tIns="180000" rIns="180000" bIns="180000"/>
          <a:lstStyle>
            <a:lvl1pPr>
              <a:spcBef>
                <a:spcPts val="989"/>
              </a:spcBef>
              <a:spcAft>
                <a:spcPts val="989"/>
              </a:spcAft>
              <a:defRPr sz="2638" baseline="0">
                <a:solidFill>
                  <a:schemeClr val="bg1"/>
                </a:solidFill>
              </a:defRPr>
            </a:lvl1pPr>
            <a:lvl2pPr>
              <a:spcBef>
                <a:spcPts val="989"/>
              </a:spcBef>
              <a:spcAft>
                <a:spcPts val="989"/>
              </a:spcAft>
              <a:defRPr sz="2638" baseline="0">
                <a:solidFill>
                  <a:schemeClr val="bg1"/>
                </a:solidFill>
              </a:defRPr>
            </a:lvl2pPr>
            <a:lvl3pPr marL="0" indent="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None/>
              <a:defRPr sz="2638" b="0" baseline="0">
                <a:solidFill>
                  <a:schemeClr val="bg1"/>
                </a:solidFill>
              </a:defRPr>
            </a:lvl3pPr>
            <a:lvl4pPr marL="1187280" indent="-118728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buFont typeface="Arial" panose="020B0604020202020204" pitchFamily="34" charset="0"/>
              <a:buChar char="•"/>
              <a:defRPr sz="2638" baseline="0">
                <a:solidFill>
                  <a:schemeClr val="bg1"/>
                </a:solidFill>
              </a:defRPr>
            </a:lvl4pPr>
            <a:lvl5pPr marL="2374560"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sz="2638" baseline="0">
                <a:solidFill>
                  <a:schemeClr val="bg1"/>
                </a:solidFill>
              </a:defRPr>
            </a:lvl5pPr>
            <a:lvl6pPr>
              <a:spcBef>
                <a:spcPts val="989"/>
              </a:spcBef>
              <a:spcAft>
                <a:spcPts val="989"/>
              </a:spcAft>
              <a:buClr>
                <a:schemeClr val="bg1"/>
              </a:buClr>
              <a:defRPr sz="2638">
                <a:solidFill>
                  <a:schemeClr val="bg1"/>
                </a:solidFill>
              </a:defRPr>
            </a:lvl6pPr>
            <a:lvl7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7pPr>
            <a:lvl8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8pPr>
            <a:lvl9pPr>
              <a:spcBef>
                <a:spcPts val="989"/>
              </a:spcBef>
              <a:spcAft>
                <a:spcPts val="989"/>
              </a:spcAft>
              <a:defRPr sz="2638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14DBE34-00F3-4FBE-A1E4-9160ED5DF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8" hasCustomPrompt="1"/>
            <p:custDataLst>
              <p:tags r:id="rId3"/>
            </p:custDataLst>
          </p:nvPr>
        </p:nvSpPr>
        <p:spPr>
          <a:xfrm>
            <a:off x="3852349" y="3932851"/>
            <a:ext cx="6080964" cy="1885078"/>
          </a:xfrm>
        </p:spPr>
        <p:txBody>
          <a:bodyPr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79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5277" b="0" i="0" u="none" strike="noStrike" kern="1200" cap="none" spc="0" normalizeH="0" baseline="0" noProof="0" dirty="0">
              <a:ln>
                <a:noFill/>
              </a:ln>
              <a:solidFill>
                <a:srgbClr val="003145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9" hasCustomPrompt="1"/>
            <p:custDataLst>
              <p:tags r:id="rId4"/>
            </p:custDataLst>
          </p:nvPr>
        </p:nvSpPr>
        <p:spPr>
          <a:xfrm>
            <a:off x="13529511" y="3932851"/>
            <a:ext cx="6080964" cy="1885078"/>
          </a:xfrm>
        </p:spPr>
        <p:txBody>
          <a:bodyPr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79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5277" b="0" i="0" u="none" strike="noStrike" kern="1200" cap="none" spc="0" normalizeH="0" baseline="0" noProof="0" dirty="0">
              <a:ln>
                <a:noFill/>
              </a:ln>
              <a:solidFill>
                <a:srgbClr val="003145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328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CV 6">
            <a:extLst>
              <a:ext uri="{FF2B5EF4-FFF2-40B4-BE49-F238E27FC236}">
                <a16:creationId xmlns:a16="http://schemas.microsoft.com/office/drawing/2014/main" id="{20C2A346-84A7-4D8C-8D8B-2936475B07C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3510906" y="8329144"/>
            <a:ext cx="5876784" cy="1348222"/>
          </a:xfrm>
        </p:spPr>
        <p:txBody>
          <a:bodyPr tIns="72000"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buFont typeface="Arial" panose="020B0604020202020204" pitchFamily="34" charset="0"/>
              <a:buNone/>
              <a:tabLst/>
              <a:defRPr sz="2638"/>
            </a:lvl1pPr>
            <a:lvl2pPr marL="593640" indent="-593640">
              <a:buClr>
                <a:schemeClr val="tx1"/>
              </a:buClr>
              <a:buFont typeface="Arial" panose="020B0604020202020204" pitchFamily="34" charset="0"/>
              <a:buChar char="•"/>
              <a:defRPr sz="2638" b="0"/>
            </a:lvl2pPr>
          </a:lstStyle>
          <a:p>
            <a:pPr marL="471202" marR="0" lvl="0" indent="-471202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tabLst/>
              <a:defRPr/>
            </a:pPr>
            <a:r>
              <a:rPr lang="en-US"/>
              <a:t>Click to edit Master text styles</a:t>
            </a:r>
          </a:p>
          <a:p>
            <a:pPr marL="471202" marR="0" lvl="1" indent="-471202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tabLst/>
              <a:defRPr/>
            </a:pPr>
            <a:r>
              <a:rPr lang="en-US"/>
              <a:t>Second level</a:t>
            </a:r>
          </a:p>
          <a:p>
            <a:pPr marL="471202" marR="0" lvl="2" indent="-471202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1979"/>
              </a:spcAft>
              <a:buClrTx/>
              <a:buSzTx/>
              <a:tabLst/>
              <a:defRPr/>
            </a:pPr>
            <a:r>
              <a:rPr lang="en-US"/>
              <a:t>Third level</a:t>
            </a:r>
          </a:p>
        </p:txBody>
      </p:sp>
      <p:sp>
        <p:nvSpPr>
          <p:cNvPr id="41" name="Contact 6">
            <a:extLst>
              <a:ext uri="{FF2B5EF4-FFF2-40B4-BE49-F238E27FC236}">
                <a16:creationId xmlns:a16="http://schemas.microsoft.com/office/drawing/2014/main" id="{05FBD610-1636-41AD-81CF-1A20A8803765}"/>
              </a:ext>
            </a:extLst>
          </p:cNvPr>
          <p:cNvSpPr>
            <a:spLocks noGrp="1"/>
          </p:cNvSpPr>
          <p:nvPr>
            <p:ph type="body" sz="quarter" idx="29" hasCustomPrompt="1"/>
            <p:custDataLst>
              <p:tags r:id="rId1"/>
            </p:custDataLst>
          </p:nvPr>
        </p:nvSpPr>
        <p:spPr>
          <a:xfrm>
            <a:off x="15325774" y="6488777"/>
            <a:ext cx="4059862" cy="1816620"/>
          </a:xfrm>
        </p:spPr>
        <p:txBody>
          <a:bodyPr lIns="144000" anchor="b" anchorCtr="0"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sz="2638" b="1"/>
            </a:lvl1pPr>
            <a:lvl2pPr>
              <a:spcAft>
                <a:spcPts val="989"/>
              </a:spcAft>
              <a:defRPr lang="en-US" sz="1979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293192" indent="-293192">
              <a:spcBef>
                <a:spcPts val="0"/>
              </a:spcBef>
              <a:spcAft>
                <a:spcPts val="0"/>
              </a:spcAft>
              <a:buFontTx/>
              <a:buNone/>
              <a:defRPr lang="en-GB" sz="1649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>
              <a:buFontTx/>
              <a:buNone/>
              <a:defRPr lang="en-US" sz="1649" kern="1200" baseline="0" dirty="0">
                <a:solidFill>
                  <a:srgbClr val="FB5A17"/>
                </a:solidFill>
                <a:latin typeface="+mn-lt"/>
                <a:ea typeface="+mn-ea"/>
                <a:cs typeface="Arial" pitchFamily="34" charset="0"/>
              </a:defRPr>
            </a:lvl4pPr>
            <a:lvl5pPr marL="0" indent="0">
              <a:buFontTx/>
              <a:buNone/>
              <a:defRPr sz="1979"/>
            </a:lvl5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79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</p:txBody>
      </p:sp>
      <p:sp>
        <p:nvSpPr>
          <p:cNvPr id="25" name="Pic 6">
            <a:extLst>
              <a:ext uri="{FF2B5EF4-FFF2-40B4-BE49-F238E27FC236}">
                <a16:creationId xmlns:a16="http://schemas.microsoft.com/office/drawing/2014/main" id="{8021D209-DA9F-41E3-913F-8CC6DACDD298}"/>
              </a:ext>
            </a:extLst>
          </p:cNvPr>
          <p:cNvSpPr>
            <a:spLocks noGrp="1"/>
          </p:cNvSpPr>
          <p:nvPr>
            <p:ph type="pic" sz="quarter" idx="26"/>
            <p:custDataLst>
              <p:tags r:id="rId2"/>
            </p:custDataLst>
          </p:nvPr>
        </p:nvSpPr>
        <p:spPr>
          <a:xfrm>
            <a:off x="13508749" y="6485900"/>
            <a:ext cx="1817025" cy="181715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2309" b="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CV 5">
            <a:extLst>
              <a:ext uri="{FF2B5EF4-FFF2-40B4-BE49-F238E27FC236}">
                <a16:creationId xmlns:a16="http://schemas.microsoft.com/office/drawing/2014/main" id="{5BB4A951-274D-4EF3-92F8-C22D6B15806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17564" y="8329144"/>
            <a:ext cx="5876784" cy="1348222"/>
          </a:xfrm>
        </p:spPr>
        <p:txBody>
          <a:bodyPr tIns="72000"/>
          <a:lstStyle>
            <a:lvl1pPr>
              <a:defRPr sz="2638"/>
            </a:lvl1pPr>
            <a:lvl2pPr marL="593640" indent="-593640">
              <a:buClr>
                <a:schemeClr val="tx1"/>
              </a:buClr>
              <a:buFont typeface="Arial" panose="020B0604020202020204" pitchFamily="34" charset="0"/>
              <a:buChar char="•"/>
              <a:defRPr sz="2638" b="0" baseline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0" name="Contact 5">
            <a:extLst>
              <a:ext uri="{FF2B5EF4-FFF2-40B4-BE49-F238E27FC236}">
                <a16:creationId xmlns:a16="http://schemas.microsoft.com/office/drawing/2014/main" id="{775539AA-CC70-4D7E-B171-BDD12E06879A}"/>
              </a:ext>
            </a:extLst>
          </p:cNvPr>
          <p:cNvSpPr>
            <a:spLocks noGrp="1"/>
          </p:cNvSpPr>
          <p:nvPr>
            <p:ph type="body" sz="quarter" idx="28" hasCustomPrompt="1"/>
            <p:custDataLst>
              <p:tags r:id="rId3"/>
            </p:custDataLst>
          </p:nvPr>
        </p:nvSpPr>
        <p:spPr>
          <a:xfrm>
            <a:off x="8933955" y="6488777"/>
            <a:ext cx="4059862" cy="1816620"/>
          </a:xfrm>
        </p:spPr>
        <p:txBody>
          <a:bodyPr lIns="144000" anchor="b" anchorCtr="0"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sz="2638" b="1"/>
            </a:lvl1pPr>
            <a:lvl2pPr>
              <a:spcAft>
                <a:spcPts val="989"/>
              </a:spcAft>
              <a:defRPr lang="en-US" sz="1979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293192" indent="-293192">
              <a:spcBef>
                <a:spcPts val="0"/>
              </a:spcBef>
              <a:spcAft>
                <a:spcPts val="0"/>
              </a:spcAft>
              <a:buFontTx/>
              <a:buNone/>
              <a:defRPr lang="en-GB" sz="1649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>
              <a:buFontTx/>
              <a:buNone/>
              <a:defRPr lang="en-US" sz="1649" kern="1200" baseline="0" dirty="0">
                <a:solidFill>
                  <a:srgbClr val="FB5A17"/>
                </a:solidFill>
                <a:latin typeface="+mn-lt"/>
                <a:ea typeface="+mn-ea"/>
                <a:cs typeface="Arial" pitchFamily="34" charset="0"/>
              </a:defRPr>
            </a:lvl4pPr>
            <a:lvl5pPr marL="0" indent="0">
              <a:buFontTx/>
              <a:buNone/>
              <a:defRPr sz="1979"/>
            </a:lvl5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79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</p:txBody>
      </p:sp>
      <p:sp>
        <p:nvSpPr>
          <p:cNvPr id="23" name="Pic 5">
            <a:extLst>
              <a:ext uri="{FF2B5EF4-FFF2-40B4-BE49-F238E27FC236}">
                <a16:creationId xmlns:a16="http://schemas.microsoft.com/office/drawing/2014/main" id="{F3ECA1DD-A566-4BE6-A275-4E333D476A9F}"/>
              </a:ext>
            </a:extLst>
          </p:cNvPr>
          <p:cNvSpPr>
            <a:spLocks noGrp="1"/>
          </p:cNvSpPr>
          <p:nvPr>
            <p:ph type="pic" sz="quarter" idx="24"/>
            <p:custDataLst>
              <p:tags r:id="rId4"/>
            </p:custDataLst>
          </p:nvPr>
        </p:nvSpPr>
        <p:spPr>
          <a:xfrm>
            <a:off x="7116930" y="6485900"/>
            <a:ext cx="1817025" cy="181715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2309" b="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CV 4">
            <a:extLst>
              <a:ext uri="{FF2B5EF4-FFF2-40B4-BE49-F238E27FC236}">
                <a16:creationId xmlns:a16="http://schemas.microsoft.com/office/drawing/2014/main" id="{F3F4EF21-D5E3-4C40-8F05-D4C390E78FB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25110" y="8329144"/>
            <a:ext cx="5876784" cy="1348222"/>
          </a:xfrm>
        </p:spPr>
        <p:txBody>
          <a:bodyPr tIns="72000"/>
          <a:lstStyle>
            <a:lvl1pPr>
              <a:defRPr sz="2638"/>
            </a:lvl1pPr>
            <a:lvl2pPr marL="593640" indent="-593640">
              <a:buClr>
                <a:schemeClr val="tx1"/>
              </a:buClr>
              <a:buFont typeface="Arial" panose="020B0604020202020204" pitchFamily="34" charset="0"/>
              <a:buChar char="•"/>
              <a:defRPr sz="2638" b="0" baseline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9" name="Contact 4">
            <a:extLst>
              <a:ext uri="{FF2B5EF4-FFF2-40B4-BE49-F238E27FC236}">
                <a16:creationId xmlns:a16="http://schemas.microsoft.com/office/drawing/2014/main" id="{D34B3715-FD00-4A82-AFE7-5FEA372D6029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5"/>
            </p:custDataLst>
          </p:nvPr>
        </p:nvSpPr>
        <p:spPr>
          <a:xfrm>
            <a:off x="2542136" y="6488777"/>
            <a:ext cx="4059862" cy="1816620"/>
          </a:xfrm>
        </p:spPr>
        <p:txBody>
          <a:bodyPr lIns="144000" anchor="b" anchorCtr="0"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sz="2638" b="1"/>
            </a:lvl1pPr>
            <a:lvl2pPr>
              <a:spcAft>
                <a:spcPts val="989"/>
              </a:spcAft>
              <a:defRPr lang="en-US" sz="1979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293192" indent="-293192">
              <a:spcBef>
                <a:spcPts val="0"/>
              </a:spcBef>
              <a:spcAft>
                <a:spcPts val="0"/>
              </a:spcAft>
              <a:buFontTx/>
              <a:buNone/>
              <a:defRPr lang="en-GB" sz="1649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>
              <a:buFontTx/>
              <a:buNone/>
              <a:defRPr lang="en-US" sz="1649" kern="1200" baseline="0" dirty="0" smtClean="0">
                <a:solidFill>
                  <a:srgbClr val="FB5A17"/>
                </a:solidFill>
                <a:latin typeface="+mn-lt"/>
                <a:ea typeface="+mn-ea"/>
                <a:cs typeface="Arial" pitchFamily="34" charset="0"/>
              </a:defRPr>
            </a:lvl4pPr>
            <a:lvl5pPr marL="0" indent="0">
              <a:buFontTx/>
              <a:buNone/>
              <a:defRPr sz="1979"/>
            </a:lvl5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79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</p:txBody>
      </p:sp>
      <p:sp>
        <p:nvSpPr>
          <p:cNvPr id="18" name="Pic 4">
            <a:extLst>
              <a:ext uri="{FF2B5EF4-FFF2-40B4-BE49-F238E27FC236}">
                <a16:creationId xmlns:a16="http://schemas.microsoft.com/office/drawing/2014/main" id="{F32CD7F8-5C42-436E-A74B-85900D401395}"/>
              </a:ext>
            </a:extLst>
          </p:cNvPr>
          <p:cNvSpPr>
            <a:spLocks noGrp="1"/>
          </p:cNvSpPr>
          <p:nvPr>
            <p:ph type="pic" sz="quarter" idx="19"/>
            <p:custDataLst>
              <p:tags r:id="rId6"/>
            </p:custDataLst>
          </p:nvPr>
        </p:nvSpPr>
        <p:spPr>
          <a:xfrm>
            <a:off x="725111" y="6485900"/>
            <a:ext cx="1817025" cy="181715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2309" b="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CV 3">
            <a:extLst>
              <a:ext uri="{FF2B5EF4-FFF2-40B4-BE49-F238E27FC236}">
                <a16:creationId xmlns:a16="http://schemas.microsoft.com/office/drawing/2014/main" id="{F6FC9297-87ED-4D39-A666-07A1D8BF73E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3510906" y="4749334"/>
            <a:ext cx="5876784" cy="1348222"/>
          </a:xfrm>
        </p:spPr>
        <p:txBody>
          <a:bodyPr tIns="72000"/>
          <a:lstStyle>
            <a:lvl1pPr>
              <a:defRPr sz="2638" b="0"/>
            </a:lvl1pPr>
            <a:lvl2pPr marL="593640" indent="-593640">
              <a:buClr>
                <a:schemeClr val="tx1"/>
              </a:buClr>
              <a:buFont typeface="Arial" panose="020B0604020202020204" pitchFamily="34" charset="0"/>
              <a:buChar char="•"/>
              <a:defRPr sz="2638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8" name="Contact 3">
            <a:extLst>
              <a:ext uri="{FF2B5EF4-FFF2-40B4-BE49-F238E27FC236}">
                <a16:creationId xmlns:a16="http://schemas.microsoft.com/office/drawing/2014/main" id="{87B0985D-643C-4881-AABD-568312FD984C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15325774" y="2887552"/>
            <a:ext cx="4059862" cy="1816620"/>
          </a:xfrm>
        </p:spPr>
        <p:txBody>
          <a:bodyPr lIns="144000" anchor="b" anchorCtr="0"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sz="2638" b="1"/>
            </a:lvl1pPr>
            <a:lvl2pPr>
              <a:spcAft>
                <a:spcPts val="989"/>
              </a:spcAft>
              <a:defRPr lang="en-US" sz="1979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293192" marR="0" indent="-293192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lang="en-GB" sz="1649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>
              <a:buFontTx/>
              <a:buNone/>
              <a:defRPr lang="en-US" sz="1649" kern="1200" baseline="0" dirty="0" smtClean="0">
                <a:solidFill>
                  <a:srgbClr val="FB5A17"/>
                </a:solidFill>
                <a:latin typeface="+mn-lt"/>
                <a:ea typeface="+mn-ea"/>
                <a:cs typeface="Arial" pitchFamily="34" charset="0"/>
              </a:defRPr>
            </a:lvl4pPr>
            <a:lvl5pPr marL="0" indent="0">
              <a:buFontTx/>
              <a:buNone/>
              <a:defRPr sz="1979"/>
            </a:lvl5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79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</p:txBody>
      </p:sp>
      <p:sp>
        <p:nvSpPr>
          <p:cNvPr id="16" name="Pic 3">
            <a:extLst>
              <a:ext uri="{FF2B5EF4-FFF2-40B4-BE49-F238E27FC236}">
                <a16:creationId xmlns:a16="http://schemas.microsoft.com/office/drawing/2014/main" id="{6039B45D-DC77-4959-BC4F-3E6E0344BDB7}"/>
              </a:ext>
            </a:extLst>
          </p:cNvPr>
          <p:cNvSpPr>
            <a:spLocks noGrp="1"/>
          </p:cNvSpPr>
          <p:nvPr>
            <p:ph type="pic" sz="quarter" idx="17"/>
            <p:custDataLst>
              <p:tags r:id="rId8"/>
            </p:custDataLst>
          </p:nvPr>
        </p:nvSpPr>
        <p:spPr>
          <a:xfrm>
            <a:off x="13508749" y="2887551"/>
            <a:ext cx="1817025" cy="181715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2309" b="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CV 2">
            <a:extLst>
              <a:ext uri="{FF2B5EF4-FFF2-40B4-BE49-F238E27FC236}">
                <a16:creationId xmlns:a16="http://schemas.microsoft.com/office/drawing/2014/main" id="{765BBAE9-0E2E-4016-8A9E-E22491A81C3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117033" y="4749334"/>
            <a:ext cx="5876784" cy="1348222"/>
          </a:xfrm>
        </p:spPr>
        <p:txBody>
          <a:bodyPr tIns="72000"/>
          <a:lstStyle>
            <a:lvl1pPr>
              <a:defRPr sz="2638" b="0" baseline="0"/>
            </a:lvl1pPr>
            <a:lvl2pPr marL="593640" indent="-593640">
              <a:buClr>
                <a:schemeClr val="tx1"/>
              </a:buClr>
              <a:buFont typeface="Arial" panose="020B0604020202020204" pitchFamily="34" charset="0"/>
              <a:buChar char="•"/>
              <a:defRPr sz="2638" b="0" baseline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Contact 2">
            <a:extLst>
              <a:ext uri="{FF2B5EF4-FFF2-40B4-BE49-F238E27FC236}">
                <a16:creationId xmlns:a16="http://schemas.microsoft.com/office/drawing/2014/main" id="{A22D7AC5-C6B9-4856-AD45-139E69D39F0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9"/>
            </p:custDataLst>
          </p:nvPr>
        </p:nvSpPr>
        <p:spPr>
          <a:xfrm>
            <a:off x="8933955" y="2887552"/>
            <a:ext cx="4059862" cy="1816620"/>
          </a:xfrm>
        </p:spPr>
        <p:txBody>
          <a:bodyPr lIns="144000" anchor="b" anchorCtr="0"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sz="2638" b="1"/>
            </a:lvl1pPr>
            <a:lvl2pPr>
              <a:spcAft>
                <a:spcPts val="989"/>
              </a:spcAft>
              <a:defRPr lang="en-US" sz="1979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293192" indent="-293192">
              <a:spcBef>
                <a:spcPts val="0"/>
              </a:spcBef>
              <a:spcAft>
                <a:spcPts val="0"/>
              </a:spcAft>
              <a:buFontTx/>
              <a:buNone/>
              <a:defRPr lang="en-GB" sz="1649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>
              <a:buFontTx/>
              <a:buNone/>
              <a:defRPr lang="en-US" sz="1649" kern="1200" baseline="0" dirty="0">
                <a:solidFill>
                  <a:srgbClr val="FB5A17"/>
                </a:solidFill>
                <a:latin typeface="+mn-lt"/>
                <a:ea typeface="+mn-ea"/>
                <a:cs typeface="Arial" pitchFamily="34" charset="0"/>
              </a:defRPr>
            </a:lvl4pPr>
            <a:lvl5pPr marL="0" indent="0">
              <a:buFontTx/>
              <a:buNone/>
              <a:defRPr sz="1979"/>
            </a:lvl5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79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</p:txBody>
      </p:sp>
      <p:sp>
        <p:nvSpPr>
          <p:cNvPr id="14" name="Pic 2">
            <a:extLst>
              <a:ext uri="{FF2B5EF4-FFF2-40B4-BE49-F238E27FC236}">
                <a16:creationId xmlns:a16="http://schemas.microsoft.com/office/drawing/2014/main" id="{C3951253-38E6-402F-8963-AF01AAEDDFF0}"/>
              </a:ext>
            </a:extLst>
          </p:cNvPr>
          <p:cNvSpPr>
            <a:spLocks noGrp="1"/>
          </p:cNvSpPr>
          <p:nvPr>
            <p:ph type="pic" sz="quarter" idx="15"/>
            <p:custDataLst>
              <p:tags r:id="rId10"/>
            </p:custDataLst>
          </p:nvPr>
        </p:nvSpPr>
        <p:spPr>
          <a:xfrm>
            <a:off x="7116930" y="2887551"/>
            <a:ext cx="1817025" cy="181715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2309" b="0"/>
            </a:lvl1pPr>
          </a:lstStyle>
          <a:p>
            <a:pPr lvl="0"/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CV 1">
            <a:extLst>
              <a:ext uri="{FF2B5EF4-FFF2-40B4-BE49-F238E27FC236}">
                <a16:creationId xmlns:a16="http://schemas.microsoft.com/office/drawing/2014/main" id="{4D9001DE-C29B-4B86-8552-AD6772AEF21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25110" y="4722702"/>
            <a:ext cx="5876784" cy="1348222"/>
          </a:xfrm>
        </p:spPr>
        <p:txBody>
          <a:bodyPr tIns="72000"/>
          <a:lstStyle>
            <a:lvl1pPr>
              <a:defRPr sz="2638" baseline="0"/>
            </a:lvl1pPr>
            <a:lvl2pPr marL="593640" indent="-593640">
              <a:buClr>
                <a:schemeClr val="tx1"/>
              </a:buClr>
              <a:buFont typeface="Arial" panose="020B0604020202020204" pitchFamily="34" charset="0"/>
              <a:buChar char="•"/>
              <a:defRPr sz="2638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Contact 1">
            <a:extLst>
              <a:ext uri="{FF2B5EF4-FFF2-40B4-BE49-F238E27FC236}">
                <a16:creationId xmlns:a16="http://schemas.microsoft.com/office/drawing/2014/main" id="{5C37FA3D-2959-4C31-BF97-FE57377B8E94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1"/>
            </p:custDataLst>
          </p:nvPr>
        </p:nvSpPr>
        <p:spPr>
          <a:xfrm>
            <a:off x="2542136" y="2887552"/>
            <a:ext cx="4059862" cy="1816620"/>
          </a:xfrm>
        </p:spPr>
        <p:txBody>
          <a:bodyPr lIns="144000" anchor="b" anchorCtr="0"/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 sz="2638" b="1"/>
            </a:lvl1pPr>
            <a:lvl2pPr>
              <a:spcAft>
                <a:spcPts val="989"/>
              </a:spcAft>
              <a:defRPr lang="en-US" sz="1979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293192" indent="-293192">
              <a:spcBef>
                <a:spcPts val="0"/>
              </a:spcBef>
              <a:spcAft>
                <a:spcPts val="0"/>
              </a:spcAft>
              <a:buFontTx/>
              <a:buNone/>
              <a:defRPr lang="en-GB" sz="1649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>
              <a:buFontTx/>
              <a:buNone/>
              <a:defRPr lang="en-US" sz="1649" kern="1200" baseline="0" dirty="0">
                <a:solidFill>
                  <a:srgbClr val="FB5A17"/>
                </a:solidFill>
                <a:latin typeface="+mn-lt"/>
                <a:ea typeface="+mn-ea"/>
                <a:cs typeface="Arial" pitchFamily="34" charset="0"/>
              </a:defRPr>
            </a:lvl4pPr>
            <a:lvl5pPr marL="0" indent="0">
              <a:buFontTx/>
              <a:buNone/>
              <a:defRPr sz="1979"/>
            </a:lvl5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1979"/>
              </a:spcBef>
              <a:spcAft>
                <a:spcPts val="0"/>
              </a:spcAft>
              <a:buClrTx/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2638" b="1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am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97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sition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79"/>
              </a:spcAft>
              <a:buClr>
                <a:srgbClr val="000000"/>
              </a:buClr>
              <a:buSzPct val="100000"/>
              <a:buFont typeface="Arial" pitchFamily="34" charset="0"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Country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003145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Telephone</a:t>
            </a:r>
          </a:p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GB" sz="1649" b="0" i="0" u="none" strike="noStrike" kern="1200" cap="none" spc="0" normalizeH="0" baseline="0" noProof="0" dirty="0">
                <a:ln>
                  <a:noFill/>
                </a:ln>
                <a:solidFill>
                  <a:srgbClr val="FB5A17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Email</a:t>
            </a:r>
          </a:p>
        </p:txBody>
      </p:sp>
      <p:sp>
        <p:nvSpPr>
          <p:cNvPr id="4" name="Pic 1">
            <a:extLst>
              <a:ext uri="{FF2B5EF4-FFF2-40B4-BE49-F238E27FC236}">
                <a16:creationId xmlns:a16="http://schemas.microsoft.com/office/drawing/2014/main" id="{3C879DCA-29B6-4E2B-9AB5-A0D1CD5DC69B}"/>
              </a:ext>
            </a:extLst>
          </p:cNvPr>
          <p:cNvSpPr>
            <a:spLocks noGrp="1"/>
          </p:cNvSpPr>
          <p:nvPr>
            <p:ph type="pic" sz="quarter" idx="10"/>
            <p:custDataLst>
              <p:tags r:id="rId12"/>
            </p:custDataLst>
          </p:nvPr>
        </p:nvSpPr>
        <p:spPr>
          <a:xfrm>
            <a:off x="725111" y="2887551"/>
            <a:ext cx="1817025" cy="1817153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en-GB" sz="2309" b="0" dirty="0"/>
            </a:lvl1pPr>
          </a:lstStyle>
          <a:p>
            <a:pPr lvl="0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514DBE34-00F3-4FBE-A1E4-9160ED5DF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264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con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g Close Quote">
            <a:extLst>
              <a:ext uri="{FF2B5EF4-FFF2-40B4-BE49-F238E27FC236}">
                <a16:creationId xmlns:a16="http://schemas.microsoft.com/office/drawing/2014/main" id="{0F83B4A9-A054-439D-BA85-FEE5E75052B5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1"/>
            </p:custDataLst>
          </p:nvPr>
        </p:nvSpPr>
        <p:spPr>
          <a:xfrm>
            <a:off x="3580818" y="5654673"/>
            <a:ext cx="2374764" cy="2968704"/>
          </a:xfrm>
        </p:spPr>
        <p:txBody>
          <a:bodyPr/>
          <a:lstStyle>
            <a:lvl1pPr>
              <a:defRPr sz="32980" baseline="0">
                <a:solidFill>
                  <a:schemeClr val="accent2"/>
                </a:solidFill>
              </a:defRPr>
            </a:lvl1pPr>
            <a:lvl2pPr>
              <a:defRPr baseline="0">
                <a:solidFill>
                  <a:schemeClr val="accent2"/>
                </a:solidFill>
              </a:defRPr>
            </a:lvl2pPr>
            <a:lvl3pPr>
              <a:defRPr baseline="0">
                <a:solidFill>
                  <a:schemeClr val="accent2"/>
                </a:solidFill>
              </a:defRPr>
            </a:lvl3pPr>
            <a:lvl4pPr>
              <a:defRPr baseline="0">
                <a:solidFill>
                  <a:schemeClr val="accent2"/>
                </a:solidFill>
              </a:defRPr>
            </a:lvl4pPr>
            <a:lvl5pPr>
              <a:defRPr baseline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”</a:t>
            </a:r>
            <a:endParaRPr lang="en-US" dirty="0"/>
          </a:p>
        </p:txBody>
      </p:sp>
      <p:sp>
        <p:nvSpPr>
          <p:cNvPr id="7" name="Big Open Quote">
            <a:extLst>
              <a:ext uri="{FF2B5EF4-FFF2-40B4-BE49-F238E27FC236}">
                <a16:creationId xmlns:a16="http://schemas.microsoft.com/office/drawing/2014/main" id="{F5883905-AEC7-4ACF-A872-A35653FAA92F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2"/>
            </p:custDataLst>
          </p:nvPr>
        </p:nvSpPr>
        <p:spPr>
          <a:xfrm>
            <a:off x="457091" y="1887862"/>
            <a:ext cx="2374500" cy="2104446"/>
          </a:xfrm>
        </p:spPr>
        <p:txBody>
          <a:bodyPr/>
          <a:lstStyle>
            <a:lvl1pPr>
              <a:defRPr sz="32815" baseline="0">
                <a:solidFill>
                  <a:schemeClr val="accent2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“</a:t>
            </a:r>
            <a:endParaRPr lang="en-US" dirty="0"/>
          </a:p>
        </p:txBody>
      </p:sp>
      <p:sp>
        <p:nvSpPr>
          <p:cNvPr id="6" name="Quote text">
            <a:extLst>
              <a:ext uri="{FF2B5EF4-FFF2-40B4-BE49-F238E27FC236}">
                <a16:creationId xmlns:a16="http://schemas.microsoft.com/office/drawing/2014/main" id="{C2460536-7881-47BE-B047-301D098EBE6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0124" y="3992306"/>
            <a:ext cx="12703575" cy="11572057"/>
          </a:xfrm>
        </p:spPr>
        <p:txBody>
          <a:bodyPr>
            <a:spAutoFit/>
          </a:bodyPr>
          <a:lstStyle>
            <a:lvl1pPr>
              <a:defRPr sz="5277" b="0" baseline="0">
                <a:solidFill>
                  <a:schemeClr val="tx1"/>
                </a:solidFill>
              </a:defRPr>
            </a:lvl1pPr>
            <a:lvl2pPr marL="1187280" indent="-1187280">
              <a:buClr>
                <a:schemeClr val="tx1"/>
              </a:buClr>
              <a:buFont typeface="Arial" panose="020B0604020202020204" pitchFamily="34" charset="0"/>
              <a:buChar char="•"/>
              <a:defRPr sz="5277" b="0" baseline="0">
                <a:solidFill>
                  <a:schemeClr val="tx1"/>
                </a:solidFill>
              </a:defRPr>
            </a:lvl2pPr>
            <a:lvl3pPr marL="2374560" indent="-1187280">
              <a:buFont typeface="Arial" panose="020B0604020202020204" pitchFamily="34" charset="0"/>
              <a:buChar char="‒"/>
              <a:defRPr sz="5277" baseline="0">
                <a:solidFill>
                  <a:schemeClr val="tx1"/>
                </a:solidFill>
              </a:defRPr>
            </a:lvl3pPr>
            <a:lvl4pPr marL="0" indent="0">
              <a:buNone/>
              <a:defRPr sz="3298" baseline="0">
                <a:solidFill>
                  <a:schemeClr val="tx1"/>
                </a:solidFill>
              </a:defRPr>
            </a:lvl4pPr>
            <a:lvl5pPr marL="0" indent="0">
              <a:buNone/>
              <a:defRPr sz="3298" baseline="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3298"/>
            </a:lvl6pPr>
            <a:lvl7pPr marL="0" indent="0">
              <a:buNone/>
              <a:defRPr sz="3298"/>
            </a:lvl7pPr>
            <a:lvl8pPr marL="0" indent="0">
              <a:buFont typeface="+mj-lt"/>
              <a:buNone/>
              <a:defRPr sz="3298"/>
            </a:lvl8pPr>
            <a:lvl9pPr marL="0" indent="0">
              <a:buFont typeface="+mj-lt"/>
              <a:buNone/>
              <a:defRPr sz="3298"/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  <a:p>
            <a:pPr lvl="4"/>
            <a:endParaRPr lang="en-US" dirty="0"/>
          </a:p>
        </p:txBody>
      </p:sp>
      <p:sp>
        <p:nvSpPr>
          <p:cNvPr id="8" name="Icon">
            <a:extLst>
              <a:ext uri="{FF2B5EF4-FFF2-40B4-BE49-F238E27FC236}">
                <a16:creationId xmlns:a16="http://schemas.microsoft.com/office/drawing/2014/main" id="{2322BCC5-ED38-4312-9BC5-355F57A16D51}"/>
              </a:ext>
            </a:extLst>
          </p:cNvPr>
          <p:cNvSpPr>
            <a:spLocks noGrp="1"/>
          </p:cNvSpPr>
          <p:nvPr>
            <p:ph type="pic" sz="quarter" idx="11"/>
            <p:custDataLst>
              <p:tags r:id="rId3"/>
            </p:custDataLst>
          </p:nvPr>
        </p:nvSpPr>
        <p:spPr>
          <a:xfrm>
            <a:off x="13451074" y="7257753"/>
            <a:ext cx="6648600" cy="3324533"/>
          </a:xfrm>
        </p:spPr>
        <p:txBody>
          <a:bodyPr/>
          <a:lstStyle>
            <a:lvl1pPr>
              <a:defRPr sz="2309" b="0"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94AFE5-EC90-40CB-B9EA-8B2BCED8C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FB5A1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025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 Img"/>
          <p:cNvSpPr>
            <a:spLocks noGrp="1"/>
          </p:cNvSpPr>
          <p:nvPr>
            <p:ph type="pic" sz="quarter" idx="24"/>
            <p:custDataLst>
              <p:tags r:id="rId1"/>
            </p:custDataLst>
          </p:nvPr>
        </p:nvSpPr>
        <p:spPr>
          <a:xfrm>
            <a:off x="-40697" y="4017"/>
            <a:ext cx="20100143" cy="1130935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Big Open Quote">
            <a:extLst>
              <a:ext uri="{FF2B5EF4-FFF2-40B4-BE49-F238E27FC236}">
                <a16:creationId xmlns:a16="http://schemas.microsoft.com/office/drawing/2014/main" id="{ED72779A-9BA3-439D-BD19-0C7AEB88A8AC}"/>
              </a:ext>
            </a:extLst>
          </p:cNvPr>
          <p:cNvSpPr>
            <a:spLocks noGrp="1"/>
          </p:cNvSpPr>
          <p:nvPr>
            <p:ph type="body" sz="quarter" idx="22" hasCustomPrompt="1"/>
            <p:custDataLst>
              <p:tags r:id="rId2"/>
            </p:custDataLst>
          </p:nvPr>
        </p:nvSpPr>
        <p:spPr>
          <a:xfrm>
            <a:off x="457091" y="1887862"/>
            <a:ext cx="2374500" cy="2104446"/>
          </a:xfrm>
        </p:spPr>
        <p:txBody>
          <a:bodyPr/>
          <a:lstStyle>
            <a:lvl1pPr>
              <a:defRPr sz="32815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“</a:t>
            </a:r>
            <a:endParaRPr lang="en-US" dirty="0"/>
          </a:p>
        </p:txBody>
      </p:sp>
      <p:sp>
        <p:nvSpPr>
          <p:cNvPr id="10" name="Big Close Quote">
            <a:extLst>
              <a:ext uri="{FF2B5EF4-FFF2-40B4-BE49-F238E27FC236}">
                <a16:creationId xmlns:a16="http://schemas.microsoft.com/office/drawing/2014/main" id="{22DB2534-901E-423F-BD94-DA82885EC81A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3580818" y="5654673"/>
            <a:ext cx="2374764" cy="2968704"/>
          </a:xfrm>
        </p:spPr>
        <p:txBody>
          <a:bodyPr/>
          <a:lstStyle>
            <a:lvl1pPr>
              <a:defRPr sz="32980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accent2"/>
                </a:solidFill>
              </a:defRPr>
            </a:lvl2pPr>
            <a:lvl3pPr>
              <a:defRPr baseline="0">
                <a:solidFill>
                  <a:schemeClr val="accent2"/>
                </a:solidFill>
              </a:defRPr>
            </a:lvl3pPr>
            <a:lvl4pPr>
              <a:defRPr baseline="0">
                <a:solidFill>
                  <a:schemeClr val="accent2"/>
                </a:solidFill>
              </a:defRPr>
            </a:lvl4pPr>
            <a:lvl5pPr>
              <a:defRPr baseline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dirty="0"/>
              <a:t>”</a:t>
            </a:r>
            <a:endParaRPr lang="en-US" dirty="0"/>
          </a:p>
        </p:txBody>
      </p:sp>
      <p:sp>
        <p:nvSpPr>
          <p:cNvPr id="6" name="Quote text">
            <a:extLst>
              <a:ext uri="{FF2B5EF4-FFF2-40B4-BE49-F238E27FC236}">
                <a16:creationId xmlns:a16="http://schemas.microsoft.com/office/drawing/2014/main" id="{C2460536-7881-47BE-B047-301D098EBE6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0124" y="3992306"/>
            <a:ext cx="12703575" cy="11572057"/>
          </a:xfrm>
        </p:spPr>
        <p:txBody>
          <a:bodyPr>
            <a:spAutoFit/>
          </a:bodyPr>
          <a:lstStyle>
            <a:lvl1pPr>
              <a:spcBef>
                <a:spcPts val="989"/>
              </a:spcBef>
              <a:spcAft>
                <a:spcPts val="989"/>
              </a:spcAft>
              <a:defRPr sz="5277" b="0" baseline="0">
                <a:solidFill>
                  <a:schemeClr val="bg1"/>
                </a:solidFill>
              </a:defRPr>
            </a:lvl1pPr>
            <a:lvl2pPr marL="1187280" indent="-1187280">
              <a:buClr>
                <a:schemeClr val="bg1"/>
              </a:buClr>
              <a:buFont typeface="Arial" panose="020B0604020202020204" pitchFamily="34" charset="0"/>
              <a:buChar char="•"/>
              <a:defRPr sz="5277" b="0" baseline="0">
                <a:solidFill>
                  <a:schemeClr val="bg1"/>
                </a:solidFill>
              </a:defRPr>
            </a:lvl2pPr>
            <a:lvl3pPr marL="2374560" indent="-1187280">
              <a:buClr>
                <a:schemeClr val="bg1"/>
              </a:buClr>
              <a:buFont typeface="Arial" panose="020B0604020202020204" pitchFamily="34" charset="0"/>
              <a:buChar char="‒"/>
              <a:defRPr sz="5277" b="0" baseline="0">
                <a:solidFill>
                  <a:schemeClr val="bg1"/>
                </a:solidFill>
              </a:defRPr>
            </a:lvl3pPr>
            <a:lvl4pPr marL="0" indent="0">
              <a:buClr>
                <a:schemeClr val="bg1"/>
              </a:buClr>
              <a:buNone/>
              <a:defRPr sz="3298" baseline="0">
                <a:solidFill>
                  <a:schemeClr val="bg1"/>
                </a:solidFill>
              </a:defRPr>
            </a:lvl4pPr>
            <a:lvl5pPr marL="0" indent="0">
              <a:buClr>
                <a:schemeClr val="bg1"/>
              </a:buClr>
              <a:buFont typeface="+mj-lt"/>
              <a:buNone/>
              <a:defRPr sz="3298" baseline="0">
                <a:solidFill>
                  <a:schemeClr val="bg1"/>
                </a:solidFill>
              </a:defRPr>
            </a:lvl5pPr>
            <a:lvl6pPr marL="0" indent="0">
              <a:buFont typeface="+mj-lt"/>
              <a:buNone/>
              <a:defRPr sz="3298">
                <a:solidFill>
                  <a:schemeClr val="bg1"/>
                </a:solidFill>
              </a:defRPr>
            </a:lvl6pPr>
            <a:lvl7pPr marL="0" indent="0">
              <a:buNone/>
              <a:defRPr sz="3298">
                <a:solidFill>
                  <a:schemeClr val="bg1"/>
                </a:solidFill>
              </a:defRPr>
            </a:lvl7pPr>
            <a:lvl8pPr marL="0" indent="0">
              <a:buFont typeface="+mj-lt"/>
              <a:buNone/>
              <a:defRPr sz="3298">
                <a:solidFill>
                  <a:schemeClr val="bg1"/>
                </a:solidFill>
              </a:defRPr>
            </a:lvl8pPr>
            <a:lvl9pPr marL="0" indent="0">
              <a:buFont typeface="+mj-lt"/>
              <a:buNone/>
              <a:defRPr sz="3298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Key message and quote</a:t>
            </a:r>
          </a:p>
          <a:p>
            <a:pPr lvl="1"/>
            <a:r>
              <a:rPr lang="en-US" dirty="0"/>
              <a:t>Bullet key message level 1</a:t>
            </a:r>
          </a:p>
          <a:p>
            <a:pPr lvl="2"/>
            <a:r>
              <a:rPr lang="en-US" dirty="0"/>
              <a:t>Bullet key message level 2</a:t>
            </a:r>
          </a:p>
          <a:p>
            <a:pPr lvl="3"/>
            <a:r>
              <a:rPr lang="en-US" dirty="0"/>
              <a:t>Author quote</a:t>
            </a:r>
          </a:p>
          <a:p>
            <a:pPr lvl="4"/>
            <a:r>
              <a:rPr lang="en-US" dirty="0"/>
              <a:t>Author quote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pPr lvl="4"/>
            <a:endParaRPr lang="en-US" dirty="0"/>
          </a:p>
          <a:p>
            <a:pPr lvl="4"/>
            <a:endParaRPr lang="en-US" dirty="0"/>
          </a:p>
        </p:txBody>
      </p:sp>
      <p:sp>
        <p:nvSpPr>
          <p:cNvPr id="16" name="Dots Bottom">
            <a:extLst>
              <a:ext uri="{FF2B5EF4-FFF2-40B4-BE49-F238E27FC236}">
                <a16:creationId xmlns:a16="http://schemas.microsoft.com/office/drawing/2014/main" id="{312989ED-1A04-4F3A-B978-E203D620ABDD}"/>
              </a:ext>
            </a:extLst>
          </p:cNvPr>
          <p:cNvSpPr>
            <a:spLocks noGrp="1"/>
          </p:cNvSpPr>
          <p:nvPr>
            <p:ph sz="quarter" idx="15" hasCustomPrompt="1"/>
            <p:custDataLst>
              <p:tags r:id="rId4"/>
            </p:custDataLst>
          </p:nvPr>
        </p:nvSpPr>
        <p:spPr>
          <a:xfrm>
            <a:off x="725111" y="10596950"/>
            <a:ext cx="18653882" cy="327239"/>
          </a:xfrm>
        </p:spPr>
        <p:txBody>
          <a:bodyPr/>
          <a:lstStyle>
            <a:lvl1pPr>
              <a:defRPr sz="1319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&lt;&lt;Dots 1&gt;&gt;</a:t>
            </a:r>
            <a:endParaRPr lang="en-US"/>
          </a:p>
        </p:txBody>
      </p:sp>
      <p:sp>
        <p:nvSpPr>
          <p:cNvPr id="15" name="Dots Top">
            <a:extLst>
              <a:ext uri="{FF2B5EF4-FFF2-40B4-BE49-F238E27FC236}">
                <a16:creationId xmlns:a16="http://schemas.microsoft.com/office/drawing/2014/main" id="{0B24A994-42AD-4199-868F-26B1DD95A9C0}"/>
              </a:ext>
            </a:extLst>
          </p:cNvPr>
          <p:cNvSpPr>
            <a:spLocks noGrp="1"/>
          </p:cNvSpPr>
          <p:nvPr>
            <p:ph sz="quarter" idx="16" hasCustomPrompt="1"/>
            <p:custDataLst>
              <p:tags r:id="rId5"/>
            </p:custDataLst>
          </p:nvPr>
        </p:nvSpPr>
        <p:spPr>
          <a:xfrm>
            <a:off x="724224" y="712400"/>
            <a:ext cx="18653882" cy="327239"/>
          </a:xfrm>
        </p:spPr>
        <p:txBody>
          <a:bodyPr/>
          <a:lstStyle>
            <a:lvl1pPr>
              <a:defRPr sz="1319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&lt;&lt;Dots 1&gt;&gt;</a:t>
            </a:r>
            <a:endParaRPr lang="en-US" dirty="0"/>
          </a:p>
        </p:txBody>
      </p:sp>
      <p:sp>
        <p:nvSpPr>
          <p:cNvPr id="20" name="osborneclarke"/>
          <p:cNvSpPr>
            <a:spLocks noGrp="1"/>
          </p:cNvSpPr>
          <p:nvPr>
            <p:ph type="body" sz="quarter" idx="25" hasCustomPrompt="1"/>
            <p:custDataLst>
              <p:tags r:id="rId6"/>
            </p:custDataLst>
          </p:nvPr>
        </p:nvSpPr>
        <p:spPr>
          <a:xfrm>
            <a:off x="724223" y="415567"/>
            <a:ext cx="2730675" cy="189973"/>
          </a:xfrm>
        </p:spPr>
        <p:txBody>
          <a:bodyPr>
            <a:noAutofit/>
          </a:bodyPr>
          <a:lstStyle>
            <a:lvl1pPr>
              <a:defRPr sz="1319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 marL="0" indent="0">
              <a:buNone/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sz="1979" dirty="0"/>
              <a:t>&lt;&lt;</a:t>
            </a:r>
            <a:r>
              <a:rPr lang="en-GB" sz="1979" dirty="0" err="1"/>
              <a:t>osborneclarke</a:t>
            </a:r>
            <a:r>
              <a:rPr lang="en-GB" sz="1979" dirty="0"/>
              <a:t>&gt;&gt;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151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, graphs and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Content Holder">
            <a:extLst>
              <a:ext uri="{FF2B5EF4-FFF2-40B4-BE49-F238E27FC236}">
                <a16:creationId xmlns:a16="http://schemas.microsoft.com/office/drawing/2014/main" id="{64DBE587-8709-45CB-9DDB-CDCE18EEEECC}"/>
              </a:ext>
            </a:extLst>
          </p:cNvPr>
          <p:cNvSpPr>
            <a:spLocks noGrp="1"/>
          </p:cNvSpPr>
          <p:nvPr>
            <p:ph sz="quarter" idx="10" hasCustomPrompt="1"/>
            <p:custDataLst>
              <p:tags r:id="rId1"/>
            </p:custDataLst>
          </p:nvPr>
        </p:nvSpPr>
        <p:spPr>
          <a:xfrm>
            <a:off x="724701" y="2864132"/>
            <a:ext cx="7361032" cy="6649438"/>
          </a:xfrm>
        </p:spPr>
        <p:txBody>
          <a:bodyPr/>
          <a:lstStyle/>
          <a:p>
            <a:pPr lvl="0"/>
            <a:r>
              <a:rPr lang="en-US"/>
              <a:t>&lt;&lt;Diagrams.SelectedValue&gt;&gt;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1A7CFD6-931F-4F78-9488-7C3141F56B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172120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wa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/>
          <p:cNvSpPr>
            <a:spLocks noGrp="1"/>
          </p:cNvSpPr>
          <p:nvPr>
            <p:ph type="pic" sz="quarter" idx="41" hasCustomPrompt="1"/>
            <p:custDataLst>
              <p:tags r:id="rId1"/>
            </p:custDataLst>
          </p:nvPr>
        </p:nvSpPr>
        <p:spPr>
          <a:xfrm>
            <a:off x="15214609" y="6637194"/>
            <a:ext cx="4167248" cy="2968333"/>
          </a:xfrm>
          <a:solidFill>
            <a:schemeClr val="accent3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39" hasCustomPrompt="1"/>
            <p:custDataLst>
              <p:tags r:id="rId2"/>
            </p:custDataLst>
          </p:nvPr>
        </p:nvSpPr>
        <p:spPr>
          <a:xfrm>
            <a:off x="10379264" y="6637194"/>
            <a:ext cx="4167248" cy="2968333"/>
          </a:xfrm>
          <a:solidFill>
            <a:schemeClr val="accent6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37" hasCustomPrompt="1"/>
            <p:custDataLst>
              <p:tags r:id="rId3"/>
            </p:custDataLst>
          </p:nvPr>
        </p:nvSpPr>
        <p:spPr>
          <a:xfrm>
            <a:off x="5556330" y="6637194"/>
            <a:ext cx="4167248" cy="2968333"/>
          </a:xfrm>
          <a:solidFill>
            <a:schemeClr val="accent4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35" hasCustomPrompt="1"/>
            <p:custDataLst>
              <p:tags r:id="rId4"/>
            </p:custDataLst>
          </p:nvPr>
        </p:nvSpPr>
        <p:spPr>
          <a:xfrm>
            <a:off x="724222" y="6637194"/>
            <a:ext cx="4167248" cy="2968333"/>
          </a:xfrm>
          <a:solidFill>
            <a:schemeClr val="accent2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33" hasCustomPrompt="1"/>
            <p:custDataLst>
              <p:tags r:id="rId5"/>
            </p:custDataLst>
          </p:nvPr>
        </p:nvSpPr>
        <p:spPr>
          <a:xfrm>
            <a:off x="15214609" y="3075194"/>
            <a:ext cx="4167248" cy="2968333"/>
          </a:xfrm>
          <a:solidFill>
            <a:schemeClr val="accent3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31" hasCustomPrompt="1"/>
            <p:custDataLst>
              <p:tags r:id="rId6"/>
            </p:custDataLst>
          </p:nvPr>
        </p:nvSpPr>
        <p:spPr>
          <a:xfrm>
            <a:off x="10382501" y="3075194"/>
            <a:ext cx="4167248" cy="2968333"/>
          </a:xfrm>
          <a:solidFill>
            <a:schemeClr val="accent6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9" hasCustomPrompt="1"/>
            <p:custDataLst>
              <p:tags r:id="rId7"/>
            </p:custDataLst>
          </p:nvPr>
        </p:nvSpPr>
        <p:spPr>
          <a:xfrm>
            <a:off x="5556330" y="3075194"/>
            <a:ext cx="4167248" cy="2968333"/>
          </a:xfrm>
          <a:solidFill>
            <a:schemeClr val="accent4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27" hasCustomPrompt="1"/>
            <p:custDataLst>
              <p:tags r:id="rId8"/>
            </p:custDataLst>
          </p:nvPr>
        </p:nvSpPr>
        <p:spPr>
          <a:xfrm>
            <a:off x="724222" y="3075194"/>
            <a:ext cx="4167248" cy="2968333"/>
          </a:xfrm>
          <a:solidFill>
            <a:schemeClr val="accent2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40" name="Award 8">
            <a:extLst>
              <a:ext uri="{FF2B5EF4-FFF2-40B4-BE49-F238E27FC236}">
                <a16:creationId xmlns:a16="http://schemas.microsoft.com/office/drawing/2014/main" id="{E40C16B2-5ACC-42A6-A512-EE224B7426B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5212548" y="7379277"/>
            <a:ext cx="4167412" cy="1187333"/>
          </a:xfrm>
        </p:spPr>
        <p:txBody>
          <a:bodyPr lIns="108000" tIns="36000" rIns="108000" anchor="ctr" anchorCtr="0"/>
          <a:lstStyle>
            <a:lvl1pPr>
              <a:defRPr sz="1979" b="1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ward</a:t>
            </a:r>
          </a:p>
        </p:txBody>
      </p:sp>
      <p:sp>
        <p:nvSpPr>
          <p:cNvPr id="88" name="Company 8">
            <a:extLst>
              <a:ext uri="{FF2B5EF4-FFF2-40B4-BE49-F238E27FC236}">
                <a16:creationId xmlns:a16="http://schemas.microsoft.com/office/drawing/2014/main" id="{DEBB401C-BD87-470B-ACF7-91E43CE420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14610" y="6664657"/>
            <a:ext cx="4168215" cy="742083"/>
          </a:xfrm>
        </p:spPr>
        <p:txBody>
          <a:bodyPr lIns="108000" tIns="108000">
            <a:noAutofit/>
          </a:bodyPr>
          <a:lstStyle>
            <a:lvl1pPr>
              <a:defRPr sz="2638" baseline="0">
                <a:solidFill>
                  <a:schemeClr val="bg1"/>
                </a:solidFill>
              </a:defRPr>
            </a:lvl1pPr>
            <a:lvl2pPr>
              <a:defRPr sz="1979"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141" name="Award 7">
            <a:extLst>
              <a:ext uri="{FF2B5EF4-FFF2-40B4-BE49-F238E27FC236}">
                <a16:creationId xmlns:a16="http://schemas.microsoft.com/office/drawing/2014/main" id="{2F4E2D04-8E97-47E5-BDCC-E620645902E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380526" y="7379277"/>
            <a:ext cx="4167412" cy="1187333"/>
          </a:xfrm>
        </p:spPr>
        <p:txBody>
          <a:bodyPr lIns="108000" tIns="36000" rIns="108000" anchor="ctr" anchorCtr="0"/>
          <a:lstStyle>
            <a:lvl1pPr>
              <a:defRPr sz="1979" b="1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ward</a:t>
            </a:r>
          </a:p>
        </p:txBody>
      </p:sp>
      <p:sp>
        <p:nvSpPr>
          <p:cNvPr id="100" name="Company 7">
            <a:extLst>
              <a:ext uri="{FF2B5EF4-FFF2-40B4-BE49-F238E27FC236}">
                <a16:creationId xmlns:a16="http://schemas.microsoft.com/office/drawing/2014/main" id="{8251DAFD-0702-4AF0-918D-C316B536A5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382502" y="6675101"/>
            <a:ext cx="4168215" cy="742083"/>
          </a:xfrm>
        </p:spPr>
        <p:txBody>
          <a:bodyPr lIns="108000" tIns="108000">
            <a:noAutofit/>
          </a:bodyPr>
          <a:lstStyle>
            <a:lvl1pPr>
              <a:defRPr sz="2638" baseline="0">
                <a:solidFill>
                  <a:schemeClr val="bg1"/>
                </a:solidFill>
              </a:defRPr>
            </a:lvl1pPr>
            <a:lvl2pPr>
              <a:defRPr sz="1979"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145" name="Award 6">
            <a:extLst>
              <a:ext uri="{FF2B5EF4-FFF2-40B4-BE49-F238E27FC236}">
                <a16:creationId xmlns:a16="http://schemas.microsoft.com/office/drawing/2014/main" id="{A4F2F200-F78B-4547-BF5E-4E3EF318C3C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56330" y="7379277"/>
            <a:ext cx="4167412" cy="1187333"/>
          </a:xfrm>
        </p:spPr>
        <p:txBody>
          <a:bodyPr lIns="108000" tIns="36000" rIns="108000" anchor="ctr" anchorCtr="0"/>
          <a:lstStyle>
            <a:lvl1pPr>
              <a:defRPr sz="1979" b="1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ward</a:t>
            </a:r>
          </a:p>
        </p:txBody>
      </p:sp>
      <p:sp>
        <p:nvSpPr>
          <p:cNvPr id="112" name="Company 6">
            <a:extLst>
              <a:ext uri="{FF2B5EF4-FFF2-40B4-BE49-F238E27FC236}">
                <a16:creationId xmlns:a16="http://schemas.microsoft.com/office/drawing/2014/main" id="{4C7C68BD-3E41-46BE-AD58-758516F77A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56330" y="6634974"/>
            <a:ext cx="4167248" cy="742083"/>
          </a:xfrm>
        </p:spPr>
        <p:txBody>
          <a:bodyPr lIns="108000" tIns="108000">
            <a:noAutofit/>
          </a:bodyPr>
          <a:lstStyle>
            <a:lvl1pPr>
              <a:defRPr sz="2638" baseline="0">
                <a:solidFill>
                  <a:schemeClr val="bg1"/>
                </a:solidFill>
              </a:defRPr>
            </a:lvl1pPr>
            <a:lvl2pPr>
              <a:defRPr sz="1979"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146" name="Award 5">
            <a:extLst>
              <a:ext uri="{FF2B5EF4-FFF2-40B4-BE49-F238E27FC236}">
                <a16:creationId xmlns:a16="http://schemas.microsoft.com/office/drawing/2014/main" id="{C8C9C8F7-3567-478E-A94E-753C48E7DFE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2491" y="7379277"/>
            <a:ext cx="4167412" cy="1187333"/>
          </a:xfrm>
        </p:spPr>
        <p:txBody>
          <a:bodyPr lIns="108000" tIns="36000" rIns="108000" anchor="ctr" anchorCtr="0"/>
          <a:lstStyle>
            <a:lvl1pPr>
              <a:defRPr sz="1979" b="1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ward</a:t>
            </a:r>
          </a:p>
        </p:txBody>
      </p:sp>
      <p:sp>
        <p:nvSpPr>
          <p:cNvPr id="124" name="Company 5">
            <a:extLst>
              <a:ext uri="{FF2B5EF4-FFF2-40B4-BE49-F238E27FC236}">
                <a16:creationId xmlns:a16="http://schemas.microsoft.com/office/drawing/2014/main" id="{6A24E321-4F92-4382-B7A9-ABF5D9CF3C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4222" y="6637194"/>
            <a:ext cx="4167248" cy="742083"/>
          </a:xfrm>
        </p:spPr>
        <p:txBody>
          <a:bodyPr lIns="108000" tIns="108000">
            <a:noAutofit/>
          </a:bodyPr>
          <a:lstStyle>
            <a:lvl1pPr>
              <a:defRPr sz="2638" baseline="0">
                <a:solidFill>
                  <a:schemeClr val="bg1"/>
                </a:solidFill>
              </a:defRPr>
            </a:lvl1pPr>
            <a:lvl2pPr>
              <a:defRPr sz="1979"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139" name="Award 4">
            <a:extLst>
              <a:ext uri="{FF2B5EF4-FFF2-40B4-BE49-F238E27FC236}">
                <a16:creationId xmlns:a16="http://schemas.microsoft.com/office/drawing/2014/main" id="{76F067BC-22A0-415C-87D6-B37E2C7A52E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214609" y="3817277"/>
            <a:ext cx="4167412" cy="1187333"/>
          </a:xfrm>
        </p:spPr>
        <p:txBody>
          <a:bodyPr lIns="108000" tIns="36000" rIns="108000" anchor="ctr" anchorCtr="0"/>
          <a:lstStyle>
            <a:lvl1pPr>
              <a:defRPr sz="1979" b="1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ward</a:t>
            </a:r>
          </a:p>
        </p:txBody>
      </p:sp>
      <p:sp>
        <p:nvSpPr>
          <p:cNvPr id="76" name="Company 4">
            <a:extLst>
              <a:ext uri="{FF2B5EF4-FFF2-40B4-BE49-F238E27FC236}">
                <a16:creationId xmlns:a16="http://schemas.microsoft.com/office/drawing/2014/main" id="{32EEE3E5-103C-4268-910A-EE498C237C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12631" y="3102261"/>
            <a:ext cx="4168215" cy="742083"/>
          </a:xfrm>
        </p:spPr>
        <p:txBody>
          <a:bodyPr lIns="108000" tIns="108000">
            <a:noAutofit/>
          </a:bodyPr>
          <a:lstStyle>
            <a:lvl1pPr>
              <a:defRPr sz="2638" baseline="0">
                <a:solidFill>
                  <a:schemeClr val="bg1"/>
                </a:solidFill>
              </a:defRPr>
            </a:lvl1pPr>
            <a:lvl2pPr>
              <a:defRPr sz="1979"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137" name="Award 3">
            <a:extLst>
              <a:ext uri="{FF2B5EF4-FFF2-40B4-BE49-F238E27FC236}">
                <a16:creationId xmlns:a16="http://schemas.microsoft.com/office/drawing/2014/main" id="{1379C945-43ED-45DD-B56F-E7AA0A0BE6F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382374" y="3817277"/>
            <a:ext cx="4167412" cy="1187333"/>
          </a:xfrm>
        </p:spPr>
        <p:txBody>
          <a:bodyPr lIns="108000" tIns="36000" rIns="108000" anchor="ctr" anchorCtr="0"/>
          <a:lstStyle>
            <a:lvl1pPr>
              <a:defRPr sz="1979" b="1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ward</a:t>
            </a:r>
          </a:p>
        </p:txBody>
      </p:sp>
      <p:sp>
        <p:nvSpPr>
          <p:cNvPr id="40" name="Company 3">
            <a:extLst>
              <a:ext uri="{FF2B5EF4-FFF2-40B4-BE49-F238E27FC236}">
                <a16:creationId xmlns:a16="http://schemas.microsoft.com/office/drawing/2014/main" id="{830D753B-72D5-4654-BC20-9C2859B1E9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381975" y="3112707"/>
            <a:ext cx="4168215" cy="742667"/>
          </a:xfrm>
        </p:spPr>
        <p:txBody>
          <a:bodyPr lIns="108000" tIns="108000">
            <a:noAutofit/>
          </a:bodyPr>
          <a:lstStyle>
            <a:lvl1pPr>
              <a:defRPr sz="2638" baseline="0">
                <a:solidFill>
                  <a:schemeClr val="bg1"/>
                </a:solidFill>
              </a:defRPr>
            </a:lvl1pPr>
            <a:lvl2pPr>
              <a:defRPr sz="1979"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136" name="Award 2">
            <a:extLst>
              <a:ext uri="{FF2B5EF4-FFF2-40B4-BE49-F238E27FC236}">
                <a16:creationId xmlns:a16="http://schemas.microsoft.com/office/drawing/2014/main" id="{9625DC88-8E14-4E75-B798-9E1487714C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56330" y="3817277"/>
            <a:ext cx="4167412" cy="1187333"/>
          </a:xfrm>
        </p:spPr>
        <p:txBody>
          <a:bodyPr lIns="108000" tIns="36000" rIns="108000" anchor="ctr" anchorCtr="0"/>
          <a:lstStyle>
            <a:lvl1pPr>
              <a:defRPr sz="1979" b="1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ward</a:t>
            </a:r>
          </a:p>
        </p:txBody>
      </p:sp>
      <p:sp>
        <p:nvSpPr>
          <p:cNvPr id="52" name="Company 2">
            <a:extLst>
              <a:ext uri="{FF2B5EF4-FFF2-40B4-BE49-F238E27FC236}">
                <a16:creationId xmlns:a16="http://schemas.microsoft.com/office/drawing/2014/main" id="{E96D604A-D15D-43DF-B68C-5E3DBAFC9F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556330" y="3072578"/>
            <a:ext cx="4167248" cy="742667"/>
          </a:xfrm>
        </p:spPr>
        <p:txBody>
          <a:bodyPr lIns="108000" tIns="108000">
            <a:noAutofit/>
          </a:bodyPr>
          <a:lstStyle>
            <a:lvl1pPr>
              <a:defRPr sz="2638" baseline="0">
                <a:solidFill>
                  <a:schemeClr val="bg1"/>
                </a:solidFill>
              </a:defRPr>
            </a:lvl1pPr>
            <a:lvl2pPr>
              <a:defRPr sz="1979"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4" name="Award 1">
            <a:extLst>
              <a:ext uri="{FF2B5EF4-FFF2-40B4-BE49-F238E27FC236}">
                <a16:creationId xmlns:a16="http://schemas.microsoft.com/office/drawing/2014/main" id="{B7F20889-7283-4818-BCCA-2B4F4EBAB27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2491" y="3814287"/>
            <a:ext cx="4167412" cy="1187333"/>
          </a:xfrm>
        </p:spPr>
        <p:txBody>
          <a:bodyPr lIns="108000" tIns="36000" rIns="108000" anchor="ctr" anchorCtr="0"/>
          <a:lstStyle>
            <a:lvl1pPr>
              <a:defRPr sz="1979" b="1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ward</a:t>
            </a:r>
          </a:p>
        </p:txBody>
      </p:sp>
      <p:sp>
        <p:nvSpPr>
          <p:cNvPr id="64" name="Company 1">
            <a:extLst>
              <a:ext uri="{FF2B5EF4-FFF2-40B4-BE49-F238E27FC236}">
                <a16:creationId xmlns:a16="http://schemas.microsoft.com/office/drawing/2014/main" id="{BA151A5A-0415-4470-8E3E-26CE541162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221" y="3074659"/>
            <a:ext cx="4167248" cy="742667"/>
          </a:xfrm>
        </p:spPr>
        <p:txBody>
          <a:bodyPr lIns="108000" tIns="108000">
            <a:noAutofit/>
          </a:bodyPr>
          <a:lstStyle>
            <a:lvl1pPr>
              <a:defRPr sz="2638" baseline="0">
                <a:solidFill>
                  <a:schemeClr val="bg1"/>
                </a:solidFill>
              </a:defRPr>
            </a:lvl1pPr>
            <a:lvl2pPr>
              <a:defRPr sz="1979"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 baseline="0"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94AFE5-EC90-40CB-B9EA-8B2BCED8C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28" hasCustomPrompt="1"/>
            <p:custDataLst>
              <p:tags r:id="rId9"/>
            </p:custDataLst>
          </p:nvPr>
        </p:nvSpPr>
        <p:spPr>
          <a:xfrm>
            <a:off x="3757646" y="5093660"/>
            <a:ext cx="937928" cy="1032980"/>
          </a:xfrm>
          <a:solidFill>
            <a:schemeClr val="bg1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30" hasCustomPrompt="1"/>
            <p:custDataLst>
              <p:tags r:id="rId10"/>
            </p:custDataLst>
          </p:nvPr>
        </p:nvSpPr>
        <p:spPr>
          <a:xfrm>
            <a:off x="8589754" y="5093660"/>
            <a:ext cx="937928" cy="1032980"/>
          </a:xfrm>
          <a:solidFill>
            <a:schemeClr val="bg1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32" hasCustomPrompt="1"/>
            <p:custDataLst>
              <p:tags r:id="rId11"/>
            </p:custDataLst>
          </p:nvPr>
        </p:nvSpPr>
        <p:spPr>
          <a:xfrm>
            <a:off x="13415925" y="5093660"/>
            <a:ext cx="937928" cy="1032980"/>
          </a:xfrm>
          <a:solidFill>
            <a:schemeClr val="bg1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34" hasCustomPrompt="1"/>
            <p:custDataLst>
              <p:tags r:id="rId12"/>
            </p:custDataLst>
          </p:nvPr>
        </p:nvSpPr>
        <p:spPr>
          <a:xfrm>
            <a:off x="18248032" y="5093660"/>
            <a:ext cx="937928" cy="1032980"/>
          </a:xfrm>
          <a:solidFill>
            <a:schemeClr val="bg1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36" hasCustomPrompt="1"/>
            <p:custDataLst>
              <p:tags r:id="rId13"/>
            </p:custDataLst>
          </p:nvPr>
        </p:nvSpPr>
        <p:spPr>
          <a:xfrm>
            <a:off x="3757646" y="8649723"/>
            <a:ext cx="890438" cy="1032980"/>
          </a:xfrm>
          <a:solidFill>
            <a:schemeClr val="bg1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38" hasCustomPrompt="1"/>
            <p:custDataLst>
              <p:tags r:id="rId14"/>
            </p:custDataLst>
          </p:nvPr>
        </p:nvSpPr>
        <p:spPr>
          <a:xfrm>
            <a:off x="8750032" y="8649723"/>
            <a:ext cx="937928" cy="1032980"/>
          </a:xfrm>
          <a:solidFill>
            <a:schemeClr val="bg1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40" hasCustomPrompt="1"/>
            <p:custDataLst>
              <p:tags r:id="rId15"/>
            </p:custDataLst>
          </p:nvPr>
        </p:nvSpPr>
        <p:spPr>
          <a:xfrm>
            <a:off x="13415925" y="8649723"/>
            <a:ext cx="937928" cy="1032980"/>
          </a:xfrm>
          <a:solidFill>
            <a:schemeClr val="bg1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5" name="Picture Placeholder 34"/>
          <p:cNvSpPr>
            <a:spLocks noGrp="1"/>
          </p:cNvSpPr>
          <p:nvPr>
            <p:ph type="pic" sz="quarter" idx="42" hasCustomPrompt="1"/>
            <p:custDataLst>
              <p:tags r:id="rId16"/>
            </p:custDataLst>
          </p:nvPr>
        </p:nvSpPr>
        <p:spPr>
          <a:xfrm>
            <a:off x="18248032" y="8649723"/>
            <a:ext cx="937928" cy="1032980"/>
          </a:xfrm>
          <a:solidFill>
            <a:schemeClr val="bg1"/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2985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lient 8">
            <a:extLst>
              <a:ext uri="{FF2B5EF4-FFF2-40B4-BE49-F238E27FC236}">
                <a16:creationId xmlns:a16="http://schemas.microsoft.com/office/drawing/2014/main" id="{2AE163A1-0D89-427C-8D38-A388E2B3D75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5212152" y="6487169"/>
            <a:ext cx="4167248" cy="3015827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72000" tIns="540000" rIns="72000" bIns="72000">
            <a:noAutofit/>
          </a:bodyPr>
          <a:lstStyle>
            <a:lvl1pPr algn="ctr">
              <a:defRPr sz="2968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lient name]</a:t>
            </a:r>
            <a:endParaRPr lang="en-GB" dirty="0"/>
          </a:p>
        </p:txBody>
      </p:sp>
      <p:sp>
        <p:nvSpPr>
          <p:cNvPr id="19" name="Text 8">
            <a:extLst>
              <a:ext uri="{FF2B5EF4-FFF2-40B4-BE49-F238E27FC236}">
                <a16:creationId xmlns:a16="http://schemas.microsoft.com/office/drawing/2014/main" id="{849DB289-A239-423E-A715-C9031ECB948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5212152" y="8418243"/>
            <a:ext cx="4167248" cy="1084751"/>
          </a:xfrm>
        </p:spPr>
        <p:txBody>
          <a:bodyPr/>
          <a:lstStyle>
            <a:lvl1pPr algn="ctr">
              <a:spcAft>
                <a:spcPts val="0"/>
              </a:spcAft>
              <a:defRPr sz="2638" b="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649"/>
            </a:lvl2pPr>
            <a:lvl3pPr>
              <a:spcAft>
                <a:spcPts val="0"/>
              </a:spcAft>
              <a:defRPr sz="1649"/>
            </a:lvl3pPr>
            <a:lvl4pPr>
              <a:spcAft>
                <a:spcPts val="0"/>
              </a:spcAft>
              <a:defRPr sz="1649"/>
            </a:lvl4pPr>
            <a:lvl5pPr>
              <a:spcAft>
                <a:spcPts val="0"/>
              </a:spcAft>
              <a:defRPr sz="164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lient 7">
            <a:extLst>
              <a:ext uri="{FF2B5EF4-FFF2-40B4-BE49-F238E27FC236}">
                <a16:creationId xmlns:a16="http://schemas.microsoft.com/office/drawing/2014/main" id="{C2DFE7F8-E66F-42AB-8347-EC13A406FE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383002" y="6487169"/>
            <a:ext cx="4167248" cy="3015827"/>
          </a:xfr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72000" tIns="540000" rIns="72000" bIns="72000">
            <a:noAutofit/>
          </a:bodyPr>
          <a:lstStyle>
            <a:lvl1pPr algn="ctr">
              <a:defRPr sz="2968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lient name]</a:t>
            </a:r>
            <a:endParaRPr lang="en-GB" dirty="0"/>
          </a:p>
        </p:txBody>
      </p:sp>
      <p:sp>
        <p:nvSpPr>
          <p:cNvPr id="17" name="Text 7">
            <a:extLst>
              <a:ext uri="{FF2B5EF4-FFF2-40B4-BE49-F238E27FC236}">
                <a16:creationId xmlns:a16="http://schemas.microsoft.com/office/drawing/2014/main" id="{01D2A59B-C70B-46CF-92E5-CC01C76345A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383002" y="8418243"/>
            <a:ext cx="4167248" cy="1084751"/>
          </a:xfrm>
        </p:spPr>
        <p:txBody>
          <a:bodyPr/>
          <a:lstStyle>
            <a:lvl1pPr algn="ctr">
              <a:spcAft>
                <a:spcPts val="0"/>
              </a:spcAft>
              <a:defRPr sz="2638" b="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649"/>
            </a:lvl2pPr>
            <a:lvl3pPr>
              <a:spcAft>
                <a:spcPts val="0"/>
              </a:spcAft>
              <a:defRPr sz="1649"/>
            </a:lvl3pPr>
            <a:lvl4pPr>
              <a:spcAft>
                <a:spcPts val="0"/>
              </a:spcAft>
              <a:defRPr sz="1649"/>
            </a:lvl4pPr>
            <a:lvl5pPr>
              <a:spcAft>
                <a:spcPts val="0"/>
              </a:spcAft>
              <a:defRPr sz="164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lient 6">
            <a:extLst>
              <a:ext uri="{FF2B5EF4-FFF2-40B4-BE49-F238E27FC236}">
                <a16:creationId xmlns:a16="http://schemas.microsoft.com/office/drawing/2014/main" id="{FB9AB239-3A0C-4483-AE02-BC0819E857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53851" y="6487169"/>
            <a:ext cx="4167248" cy="3015827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540000" rIns="72000" bIns="72000">
            <a:noAutofit/>
          </a:bodyPr>
          <a:lstStyle>
            <a:lvl1pPr algn="ctr">
              <a:defRPr sz="2968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lient name]</a:t>
            </a:r>
            <a:endParaRPr lang="en-GB" dirty="0"/>
          </a:p>
        </p:txBody>
      </p:sp>
      <p:sp>
        <p:nvSpPr>
          <p:cNvPr id="16" name="Text 6">
            <a:extLst>
              <a:ext uri="{FF2B5EF4-FFF2-40B4-BE49-F238E27FC236}">
                <a16:creationId xmlns:a16="http://schemas.microsoft.com/office/drawing/2014/main" id="{B6C9F661-9E5C-4468-BA8F-49FCE856041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53851" y="8418243"/>
            <a:ext cx="4167248" cy="1084751"/>
          </a:xfrm>
        </p:spPr>
        <p:txBody>
          <a:bodyPr/>
          <a:lstStyle>
            <a:lvl1pPr algn="ctr">
              <a:spcAft>
                <a:spcPts val="0"/>
              </a:spcAft>
              <a:defRPr sz="2638" b="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649"/>
            </a:lvl2pPr>
            <a:lvl3pPr>
              <a:spcAft>
                <a:spcPts val="0"/>
              </a:spcAft>
              <a:defRPr sz="1649"/>
            </a:lvl3pPr>
            <a:lvl4pPr>
              <a:spcAft>
                <a:spcPts val="0"/>
              </a:spcAft>
              <a:defRPr sz="1649"/>
            </a:lvl4pPr>
            <a:lvl5pPr>
              <a:spcAft>
                <a:spcPts val="0"/>
              </a:spcAft>
              <a:defRPr sz="164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lient 5">
            <a:extLst>
              <a:ext uri="{FF2B5EF4-FFF2-40B4-BE49-F238E27FC236}">
                <a16:creationId xmlns:a16="http://schemas.microsoft.com/office/drawing/2014/main" id="{DC017AB5-7234-467B-826B-D01878D4D3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4700" y="6487169"/>
            <a:ext cx="4167248" cy="301582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540000" rIns="72000" bIns="72000">
            <a:noAutofit/>
          </a:bodyPr>
          <a:lstStyle>
            <a:lvl1pPr algn="ctr">
              <a:defRPr sz="2968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lient name]</a:t>
            </a:r>
            <a:endParaRPr lang="en-GB" dirty="0"/>
          </a:p>
        </p:txBody>
      </p:sp>
      <p:sp>
        <p:nvSpPr>
          <p:cNvPr id="15" name="Text 5">
            <a:extLst>
              <a:ext uri="{FF2B5EF4-FFF2-40B4-BE49-F238E27FC236}">
                <a16:creationId xmlns:a16="http://schemas.microsoft.com/office/drawing/2014/main" id="{CAE58773-D5D2-4C4F-A6FC-1CC9CE97903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24700" y="8418242"/>
            <a:ext cx="4167248" cy="1084753"/>
          </a:xfrm>
        </p:spPr>
        <p:txBody>
          <a:bodyPr/>
          <a:lstStyle>
            <a:lvl1pPr algn="ctr">
              <a:spcAft>
                <a:spcPts val="0"/>
              </a:spcAft>
              <a:defRPr sz="2638" b="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649"/>
            </a:lvl2pPr>
            <a:lvl3pPr>
              <a:spcAft>
                <a:spcPts val="0"/>
              </a:spcAft>
              <a:defRPr sz="1649"/>
            </a:lvl3pPr>
            <a:lvl4pPr>
              <a:spcAft>
                <a:spcPts val="0"/>
              </a:spcAft>
              <a:defRPr sz="1649"/>
            </a:lvl4pPr>
            <a:lvl5pPr>
              <a:spcAft>
                <a:spcPts val="0"/>
              </a:spcAft>
              <a:defRPr sz="164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lient 4">
            <a:extLst>
              <a:ext uri="{FF2B5EF4-FFF2-40B4-BE49-F238E27FC236}">
                <a16:creationId xmlns:a16="http://schemas.microsoft.com/office/drawing/2014/main" id="{4141A2BE-8730-4CBD-A1EA-D28496376BE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212152" y="2905874"/>
            <a:ext cx="4167248" cy="3015827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72000" tIns="540000" rIns="72000" bIns="72000">
            <a:noAutofit/>
          </a:bodyPr>
          <a:lstStyle>
            <a:lvl1pPr algn="ctr">
              <a:defRPr sz="2968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lient name]</a:t>
            </a:r>
            <a:endParaRPr lang="en-GB" dirty="0"/>
          </a:p>
        </p:txBody>
      </p:sp>
      <p:sp>
        <p:nvSpPr>
          <p:cNvPr id="11" name="Text 4">
            <a:extLst>
              <a:ext uri="{FF2B5EF4-FFF2-40B4-BE49-F238E27FC236}">
                <a16:creationId xmlns:a16="http://schemas.microsoft.com/office/drawing/2014/main" id="{7CABC1B1-599E-4967-9275-17A8B5200A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212152" y="4836949"/>
            <a:ext cx="4167248" cy="1084751"/>
          </a:xfrm>
        </p:spPr>
        <p:txBody>
          <a:bodyPr/>
          <a:lstStyle>
            <a:lvl1pPr algn="ctr">
              <a:spcAft>
                <a:spcPts val="0"/>
              </a:spcAft>
              <a:defRPr sz="2638" b="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649"/>
            </a:lvl2pPr>
            <a:lvl3pPr>
              <a:spcAft>
                <a:spcPts val="0"/>
              </a:spcAft>
              <a:defRPr sz="1649"/>
            </a:lvl3pPr>
            <a:lvl4pPr>
              <a:spcAft>
                <a:spcPts val="0"/>
              </a:spcAft>
              <a:defRPr sz="1649"/>
            </a:lvl4pPr>
            <a:lvl5pPr>
              <a:spcAft>
                <a:spcPts val="0"/>
              </a:spcAft>
              <a:defRPr sz="164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lient 3">
            <a:extLst>
              <a:ext uri="{FF2B5EF4-FFF2-40B4-BE49-F238E27FC236}">
                <a16:creationId xmlns:a16="http://schemas.microsoft.com/office/drawing/2014/main" id="{A193C2BD-F14B-427F-94EA-7F0595584A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383002" y="2905874"/>
            <a:ext cx="4167248" cy="3015827"/>
          </a:xfrm>
          <a:solidFill>
            <a:schemeClr val="accent6"/>
          </a:solidFill>
          <a:ln>
            <a:solidFill>
              <a:schemeClr val="accent6"/>
            </a:solidFill>
          </a:ln>
        </p:spPr>
        <p:txBody>
          <a:bodyPr lIns="72000" tIns="540000" rIns="72000" bIns="72000">
            <a:noAutofit/>
          </a:bodyPr>
          <a:lstStyle>
            <a:lvl1pPr algn="ctr">
              <a:defRPr sz="2968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lient name]</a:t>
            </a:r>
            <a:endParaRPr lang="en-GB" dirty="0"/>
          </a:p>
        </p:txBody>
      </p:sp>
      <p:sp>
        <p:nvSpPr>
          <p:cNvPr id="9" name="Text 3">
            <a:extLst>
              <a:ext uri="{FF2B5EF4-FFF2-40B4-BE49-F238E27FC236}">
                <a16:creationId xmlns:a16="http://schemas.microsoft.com/office/drawing/2014/main" id="{17736D73-8E0B-4A13-9C5D-7D43C605E4A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383002" y="4836949"/>
            <a:ext cx="4167248" cy="1084751"/>
          </a:xfrm>
        </p:spPr>
        <p:txBody>
          <a:bodyPr/>
          <a:lstStyle>
            <a:lvl1pPr algn="ctr">
              <a:spcAft>
                <a:spcPts val="0"/>
              </a:spcAft>
              <a:defRPr sz="2638" b="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649"/>
            </a:lvl2pPr>
            <a:lvl3pPr>
              <a:spcAft>
                <a:spcPts val="0"/>
              </a:spcAft>
              <a:defRPr sz="1649"/>
            </a:lvl3pPr>
            <a:lvl4pPr>
              <a:spcAft>
                <a:spcPts val="0"/>
              </a:spcAft>
              <a:defRPr sz="1649"/>
            </a:lvl4pPr>
            <a:lvl5pPr>
              <a:spcAft>
                <a:spcPts val="0"/>
              </a:spcAft>
              <a:defRPr sz="164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lient 2">
            <a:extLst>
              <a:ext uri="{FF2B5EF4-FFF2-40B4-BE49-F238E27FC236}">
                <a16:creationId xmlns:a16="http://schemas.microsoft.com/office/drawing/2014/main" id="{48F5822A-E9E2-45A5-A96F-2B6A026091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53851" y="2905874"/>
            <a:ext cx="4167248" cy="3015827"/>
          </a:xfr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lIns="72000" tIns="540000" rIns="72000" bIns="72000">
            <a:noAutofit/>
          </a:bodyPr>
          <a:lstStyle>
            <a:lvl1pPr algn="ctr">
              <a:defRPr sz="2968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lient name]</a:t>
            </a:r>
            <a:endParaRPr lang="en-GB" dirty="0"/>
          </a:p>
        </p:txBody>
      </p:sp>
      <p:sp>
        <p:nvSpPr>
          <p:cNvPr id="8" name="Text 2">
            <a:extLst>
              <a:ext uri="{FF2B5EF4-FFF2-40B4-BE49-F238E27FC236}">
                <a16:creationId xmlns:a16="http://schemas.microsoft.com/office/drawing/2014/main" id="{A3B0E950-404D-43B5-9A27-3C502DB1A1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53851" y="4836949"/>
            <a:ext cx="4167248" cy="1084751"/>
          </a:xfrm>
        </p:spPr>
        <p:txBody>
          <a:bodyPr/>
          <a:lstStyle>
            <a:lvl1pPr algn="ctr">
              <a:spcAft>
                <a:spcPts val="0"/>
              </a:spcAft>
              <a:defRPr sz="2638" b="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649"/>
            </a:lvl2pPr>
            <a:lvl3pPr>
              <a:spcAft>
                <a:spcPts val="0"/>
              </a:spcAft>
              <a:defRPr sz="1649"/>
            </a:lvl3pPr>
            <a:lvl4pPr>
              <a:spcAft>
                <a:spcPts val="0"/>
              </a:spcAft>
              <a:defRPr sz="1649"/>
            </a:lvl4pPr>
            <a:lvl5pPr>
              <a:spcAft>
                <a:spcPts val="0"/>
              </a:spcAft>
              <a:defRPr sz="164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lient 1">
            <a:extLst>
              <a:ext uri="{FF2B5EF4-FFF2-40B4-BE49-F238E27FC236}">
                <a16:creationId xmlns:a16="http://schemas.microsoft.com/office/drawing/2014/main" id="{7BB1D64B-37A2-4B8C-B81F-38FC0B1BB5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4700" y="2905874"/>
            <a:ext cx="4167248" cy="3015827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72000" tIns="540000" rIns="72000" bIns="72000">
            <a:noAutofit/>
          </a:bodyPr>
          <a:lstStyle>
            <a:lvl1pPr algn="ctr">
              <a:defRPr sz="2968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Client name]</a:t>
            </a:r>
            <a:endParaRPr lang="en-GB" dirty="0"/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B40F40CB-DC91-4FC3-9148-44104B0A8E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4700" y="4836948"/>
            <a:ext cx="4167248" cy="1084753"/>
          </a:xfrm>
        </p:spPr>
        <p:txBody>
          <a:bodyPr/>
          <a:lstStyle>
            <a:lvl1pPr algn="ctr">
              <a:spcAft>
                <a:spcPts val="0"/>
              </a:spcAft>
              <a:defRPr sz="2638" b="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649"/>
            </a:lvl2pPr>
            <a:lvl3pPr>
              <a:spcAft>
                <a:spcPts val="0"/>
              </a:spcAft>
              <a:defRPr sz="1649"/>
            </a:lvl3pPr>
            <a:lvl4pPr>
              <a:spcAft>
                <a:spcPts val="0"/>
              </a:spcAft>
              <a:defRPr sz="1649"/>
            </a:lvl4pPr>
            <a:lvl5pPr>
              <a:spcAft>
                <a:spcPts val="0"/>
              </a:spcAft>
              <a:defRPr sz="1649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B4FEDF4F-1455-4E93-8537-1F60F0D4A9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1878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creen Shape">
            <a:extLst>
              <a:ext uri="{FF2B5EF4-FFF2-40B4-BE49-F238E27FC236}">
                <a16:creationId xmlns:a16="http://schemas.microsoft.com/office/drawing/2014/main" id="{F80C6195-AF88-497D-BE0D-21896C013F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750" y="1010117"/>
            <a:ext cx="11855743" cy="9594189"/>
          </a:xfrm>
          <a:prstGeom prst="rect">
            <a:avLst/>
          </a:prstGeom>
        </p:spPr>
      </p:pic>
      <p:sp>
        <p:nvSpPr>
          <p:cNvPr id="5" name="AutoShape 3">
            <a:extLst>
              <a:ext uri="{FF2B5EF4-FFF2-40B4-BE49-F238E27FC236}">
                <a16:creationId xmlns:a16="http://schemas.microsoft.com/office/drawing/2014/main" id="{0B2BDB79-1DE5-491F-8199-95847A359A9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7539038" y="1060252"/>
            <a:ext cx="11910632" cy="9581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Picture Placeholder">
            <a:extLst>
              <a:ext uri="{FF2B5EF4-FFF2-40B4-BE49-F238E27FC236}">
                <a16:creationId xmlns:a16="http://schemas.microsoft.com/office/drawing/2014/main" id="{C7B4FA6B-D0D8-4417-AE78-62492224486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8998188" y="2211025"/>
            <a:ext cx="9420715" cy="5312833"/>
          </a:xfrm>
          <a:solidFill>
            <a:schemeClr val="bg1"/>
          </a:solidFill>
        </p:spPr>
        <p:txBody>
          <a:bodyPr anchor="ctr"/>
          <a:lstStyle>
            <a:lvl1pPr algn="ctr">
              <a:defRPr sz="2638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Text">
            <a:extLst>
              <a:ext uri="{FF2B5EF4-FFF2-40B4-BE49-F238E27FC236}">
                <a16:creationId xmlns:a16="http://schemas.microsoft.com/office/drawing/2014/main" id="{655357FA-C2B7-41A4-8241-0CBE492E60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5109" y="1055017"/>
            <a:ext cx="6389859" cy="9270375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9034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ne +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creen Shape">
            <a:extLst>
              <a:ext uri="{FF2B5EF4-FFF2-40B4-BE49-F238E27FC236}">
                <a16:creationId xmlns:a16="http://schemas.microsoft.com/office/drawing/2014/main" id="{79CFAF14-9077-4D06-AF79-17B3D28C2C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750" y="1010117"/>
            <a:ext cx="11855743" cy="9594189"/>
          </a:xfrm>
          <a:prstGeom prst="rect">
            <a:avLst/>
          </a:prstGeom>
        </p:spPr>
      </p:pic>
      <p:sp>
        <p:nvSpPr>
          <p:cNvPr id="21" name="Video Placeholder">
            <a:extLst>
              <a:ext uri="{FF2B5EF4-FFF2-40B4-BE49-F238E27FC236}">
                <a16:creationId xmlns:a16="http://schemas.microsoft.com/office/drawing/2014/main" id="{58AD65C0-C861-4363-94FE-3051AB48E558}"/>
              </a:ext>
            </a:extLst>
          </p:cNvPr>
          <p:cNvSpPr>
            <a:spLocks noGrp="1"/>
          </p:cNvSpPr>
          <p:nvPr>
            <p:ph type="media" sz="quarter" idx="13"/>
            <p:custDataLst>
              <p:tags r:id="rId1"/>
            </p:custDataLst>
          </p:nvPr>
        </p:nvSpPr>
        <p:spPr bwMode="gray">
          <a:xfrm>
            <a:off x="8983406" y="2211025"/>
            <a:ext cx="9455823" cy="5312833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22" name="Text">
            <a:extLst>
              <a:ext uri="{FF2B5EF4-FFF2-40B4-BE49-F238E27FC236}">
                <a16:creationId xmlns:a16="http://schemas.microsoft.com/office/drawing/2014/main" id="{655357FA-C2B7-41A4-8241-0CBE492E60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5109" y="1055017"/>
            <a:ext cx="6389859" cy="9270375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797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uter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Screen Shapes">
            <a:extLst>
              <a:ext uri="{FF2B5EF4-FFF2-40B4-BE49-F238E27FC236}">
                <a16:creationId xmlns:a16="http://schemas.microsoft.com/office/drawing/2014/main" id="{81E17560-3AB4-487A-9A26-6D6C16D23DD5}"/>
              </a:ext>
            </a:extLst>
          </p:cNvPr>
          <p:cNvGrpSpPr/>
          <p:nvPr userDrawn="1"/>
        </p:nvGrpSpPr>
        <p:grpSpPr>
          <a:xfrm>
            <a:off x="7472472" y="1842573"/>
            <a:ext cx="11953639" cy="9057892"/>
            <a:chOff x="4531632" y="942217"/>
            <a:chExt cx="7249206" cy="5492714"/>
          </a:xfrm>
        </p:grpSpPr>
        <p:sp>
          <p:nvSpPr>
            <p:cNvPr id="20" name="AutoShape 3">
              <a:extLst>
                <a:ext uri="{FF2B5EF4-FFF2-40B4-BE49-F238E27FC236}">
                  <a16:creationId xmlns:a16="http://schemas.microsoft.com/office/drawing/2014/main" id="{4B57715D-0D45-41CF-9242-4A8F0E5536D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562475" y="964406"/>
              <a:ext cx="7218363" cy="5470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GB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2B338ECA-36B6-441A-A47F-AAB60046388D}"/>
                </a:ext>
              </a:extLst>
            </p:cNvPr>
            <p:cNvSpPr/>
            <p:nvPr/>
          </p:nvSpPr>
          <p:spPr>
            <a:xfrm>
              <a:off x="7699708" y="5461303"/>
              <a:ext cx="900298" cy="693473"/>
            </a:xfrm>
            <a:custGeom>
              <a:avLst/>
              <a:gdLst>
                <a:gd name="connsiteX0" fmla="*/ 704374 w 704850"/>
                <a:gd name="connsiteY0" fmla="*/ 540544 h 542925"/>
                <a:gd name="connsiteX1" fmla="*/ 615791 w 704850"/>
                <a:gd name="connsiteY1" fmla="*/ 7144 h 542925"/>
                <a:gd name="connsiteX2" fmla="*/ 88106 w 704850"/>
                <a:gd name="connsiteY2" fmla="*/ 7144 h 542925"/>
                <a:gd name="connsiteX3" fmla="*/ 7144 w 704850"/>
                <a:gd name="connsiteY3" fmla="*/ 540544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4850" h="542925">
                  <a:moveTo>
                    <a:pt x="704374" y="540544"/>
                  </a:moveTo>
                  <a:lnTo>
                    <a:pt x="615791" y="7144"/>
                  </a:lnTo>
                  <a:lnTo>
                    <a:pt x="88106" y="7144"/>
                  </a:lnTo>
                  <a:lnTo>
                    <a:pt x="7144" y="54054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7D9C2E3-E576-43F5-8BC1-CE3F7C5F84B0}"/>
                </a:ext>
              </a:extLst>
            </p:cNvPr>
            <p:cNvSpPr/>
            <p:nvPr/>
          </p:nvSpPr>
          <p:spPr>
            <a:xfrm>
              <a:off x="7651530" y="5412638"/>
              <a:ext cx="997628" cy="790802"/>
            </a:xfrm>
            <a:custGeom>
              <a:avLst/>
              <a:gdLst>
                <a:gd name="connsiteX0" fmla="*/ 742093 w 781050"/>
                <a:gd name="connsiteY0" fmla="*/ 617696 h 619125"/>
                <a:gd name="connsiteX1" fmla="*/ 44863 w 781050"/>
                <a:gd name="connsiteY1" fmla="*/ 617696 h 619125"/>
                <a:gd name="connsiteX2" fmla="*/ 16288 w 781050"/>
                <a:gd name="connsiteY2" fmla="*/ 604361 h 619125"/>
                <a:gd name="connsiteX3" fmla="*/ 7715 w 781050"/>
                <a:gd name="connsiteY3" fmla="*/ 572929 h 619125"/>
                <a:gd name="connsiteX4" fmla="*/ 88678 w 781050"/>
                <a:gd name="connsiteY4" fmla="*/ 39529 h 619125"/>
                <a:gd name="connsiteX5" fmla="*/ 125825 w 781050"/>
                <a:gd name="connsiteY5" fmla="*/ 7144 h 619125"/>
                <a:gd name="connsiteX6" fmla="*/ 653510 w 781050"/>
                <a:gd name="connsiteY6" fmla="*/ 7144 h 619125"/>
                <a:gd name="connsiteX7" fmla="*/ 690658 w 781050"/>
                <a:gd name="connsiteY7" fmla="*/ 39529 h 619125"/>
                <a:gd name="connsiteX8" fmla="*/ 779240 w 781050"/>
                <a:gd name="connsiteY8" fmla="*/ 572929 h 619125"/>
                <a:gd name="connsiteX9" fmla="*/ 770668 w 781050"/>
                <a:gd name="connsiteY9" fmla="*/ 604361 h 619125"/>
                <a:gd name="connsiteX10" fmla="*/ 742093 w 781050"/>
                <a:gd name="connsiteY10" fmla="*/ 617696 h 619125"/>
                <a:gd name="connsiteX11" fmla="*/ 88678 w 781050"/>
                <a:gd name="connsiteY11" fmla="*/ 540544 h 619125"/>
                <a:gd name="connsiteX12" fmla="*/ 697325 w 781050"/>
                <a:gd name="connsiteY12" fmla="*/ 540544 h 619125"/>
                <a:gd name="connsiteX13" fmla="*/ 621125 w 781050"/>
                <a:gd name="connsiteY13" fmla="*/ 84296 h 619125"/>
                <a:gd name="connsiteX14" fmla="*/ 158210 w 781050"/>
                <a:gd name="connsiteY14" fmla="*/ 84296 h 619125"/>
                <a:gd name="connsiteX15" fmla="*/ 88678 w 781050"/>
                <a:gd name="connsiteY15" fmla="*/ 540544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050" h="619125">
                  <a:moveTo>
                    <a:pt x="742093" y="617696"/>
                  </a:moveTo>
                  <a:lnTo>
                    <a:pt x="44863" y="617696"/>
                  </a:lnTo>
                  <a:cubicBezTo>
                    <a:pt x="33433" y="617696"/>
                    <a:pt x="22955" y="612934"/>
                    <a:pt x="16288" y="604361"/>
                  </a:cubicBezTo>
                  <a:cubicBezTo>
                    <a:pt x="8668" y="595789"/>
                    <a:pt x="5810" y="584359"/>
                    <a:pt x="7715" y="572929"/>
                  </a:cubicBezTo>
                  <a:lnTo>
                    <a:pt x="88678" y="39529"/>
                  </a:lnTo>
                  <a:cubicBezTo>
                    <a:pt x="91535" y="20479"/>
                    <a:pt x="107728" y="7144"/>
                    <a:pt x="125825" y="7144"/>
                  </a:cubicBezTo>
                  <a:lnTo>
                    <a:pt x="653510" y="7144"/>
                  </a:lnTo>
                  <a:cubicBezTo>
                    <a:pt x="671608" y="7144"/>
                    <a:pt x="687800" y="20479"/>
                    <a:pt x="690658" y="39529"/>
                  </a:cubicBezTo>
                  <a:lnTo>
                    <a:pt x="779240" y="572929"/>
                  </a:lnTo>
                  <a:cubicBezTo>
                    <a:pt x="781145" y="584359"/>
                    <a:pt x="778288" y="595789"/>
                    <a:pt x="770668" y="604361"/>
                  </a:cubicBezTo>
                  <a:cubicBezTo>
                    <a:pt x="764000" y="611981"/>
                    <a:pt x="753523" y="617696"/>
                    <a:pt x="742093" y="617696"/>
                  </a:cubicBezTo>
                  <a:close/>
                  <a:moveTo>
                    <a:pt x="88678" y="540544"/>
                  </a:moveTo>
                  <a:lnTo>
                    <a:pt x="697325" y="540544"/>
                  </a:lnTo>
                  <a:lnTo>
                    <a:pt x="621125" y="84296"/>
                  </a:lnTo>
                  <a:lnTo>
                    <a:pt x="158210" y="84296"/>
                  </a:lnTo>
                  <a:lnTo>
                    <a:pt x="88678" y="540544"/>
                  </a:ln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6C17B760-E39E-4C04-B446-F7734C273CCE}"/>
                </a:ext>
              </a:extLst>
            </p:cNvPr>
            <p:cNvSpPr/>
            <p:nvPr/>
          </p:nvSpPr>
          <p:spPr>
            <a:xfrm>
              <a:off x="4682493" y="1040765"/>
              <a:ext cx="6934728" cy="3467364"/>
            </a:xfrm>
            <a:custGeom>
              <a:avLst/>
              <a:gdLst>
                <a:gd name="connsiteX0" fmla="*/ 7144 w 5429250"/>
                <a:gd name="connsiteY0" fmla="*/ 7144 h 2714625"/>
                <a:gd name="connsiteX1" fmla="*/ 5428774 w 5429250"/>
                <a:gd name="connsiteY1" fmla="*/ 7144 h 2714625"/>
                <a:gd name="connsiteX2" fmla="*/ 5428774 w 5429250"/>
                <a:gd name="connsiteY2" fmla="*/ 2712244 h 2714625"/>
                <a:gd name="connsiteX3" fmla="*/ 7144 w 5429250"/>
                <a:gd name="connsiteY3" fmla="*/ 2712244 h 271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9250" h="2714625">
                  <a:moveTo>
                    <a:pt x="7144" y="7144"/>
                  </a:moveTo>
                  <a:lnTo>
                    <a:pt x="5428774" y="7144"/>
                  </a:lnTo>
                  <a:lnTo>
                    <a:pt x="5428774" y="2712244"/>
                  </a:lnTo>
                  <a:lnTo>
                    <a:pt x="7144" y="2712244"/>
                  </a:ln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81D6558-1671-4D3D-AE8A-899E1229DFF2}"/>
                </a:ext>
              </a:extLst>
            </p:cNvPr>
            <p:cNvSpPr/>
            <p:nvPr/>
          </p:nvSpPr>
          <p:spPr>
            <a:xfrm>
              <a:off x="4531632" y="942217"/>
              <a:ext cx="7238883" cy="4519085"/>
            </a:xfrm>
            <a:custGeom>
              <a:avLst/>
              <a:gdLst>
                <a:gd name="connsiteX0" fmla="*/ 5546884 w 5667375"/>
                <a:gd name="connsiteY0" fmla="*/ 2866549 h 2867025"/>
                <a:gd name="connsiteX1" fmla="*/ 125254 w 5667375"/>
                <a:gd name="connsiteY1" fmla="*/ 2866549 h 2867025"/>
                <a:gd name="connsiteX2" fmla="*/ 7144 w 5667375"/>
                <a:gd name="connsiteY2" fmla="*/ 2789396 h 2867025"/>
                <a:gd name="connsiteX3" fmla="*/ 7144 w 5667375"/>
                <a:gd name="connsiteY3" fmla="*/ 84296 h 2867025"/>
                <a:gd name="connsiteX4" fmla="*/ 125254 w 5667375"/>
                <a:gd name="connsiteY4" fmla="*/ 7144 h 2867025"/>
                <a:gd name="connsiteX5" fmla="*/ 5547837 w 5667375"/>
                <a:gd name="connsiteY5" fmla="*/ 7144 h 2867025"/>
                <a:gd name="connsiteX6" fmla="*/ 5665946 w 5667375"/>
                <a:gd name="connsiteY6" fmla="*/ 84296 h 2867025"/>
                <a:gd name="connsiteX7" fmla="*/ 5665946 w 5667375"/>
                <a:gd name="connsiteY7" fmla="*/ 2789396 h 2867025"/>
                <a:gd name="connsiteX8" fmla="*/ 5546884 w 5667375"/>
                <a:gd name="connsiteY8" fmla="*/ 2866549 h 286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7375" h="2867025">
                  <a:moveTo>
                    <a:pt x="5546884" y="2866549"/>
                  </a:moveTo>
                  <a:lnTo>
                    <a:pt x="125254" y="2866549"/>
                  </a:lnTo>
                  <a:cubicBezTo>
                    <a:pt x="60484" y="2866549"/>
                    <a:pt x="7144" y="2832259"/>
                    <a:pt x="7144" y="2789396"/>
                  </a:cubicBezTo>
                  <a:lnTo>
                    <a:pt x="7144" y="84296"/>
                  </a:lnTo>
                  <a:cubicBezTo>
                    <a:pt x="7144" y="41434"/>
                    <a:pt x="59531" y="7144"/>
                    <a:pt x="125254" y="7144"/>
                  </a:cubicBezTo>
                  <a:lnTo>
                    <a:pt x="5547837" y="7144"/>
                  </a:lnTo>
                  <a:cubicBezTo>
                    <a:pt x="5612606" y="7144"/>
                    <a:pt x="5665946" y="41434"/>
                    <a:pt x="5665946" y="84296"/>
                  </a:cubicBezTo>
                  <a:lnTo>
                    <a:pt x="5665946" y="2789396"/>
                  </a:lnTo>
                  <a:cubicBezTo>
                    <a:pt x="5664994" y="2832259"/>
                    <a:pt x="5612606" y="2866549"/>
                    <a:pt x="5546884" y="2866549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0CD2537-EE2E-4CFC-B52D-6093CEE5106A}"/>
                </a:ext>
              </a:extLst>
            </p:cNvPr>
            <p:cNvSpPr/>
            <p:nvPr/>
          </p:nvSpPr>
          <p:spPr>
            <a:xfrm>
              <a:off x="7480716" y="5189436"/>
              <a:ext cx="1350447" cy="12166"/>
            </a:xfrm>
            <a:custGeom>
              <a:avLst/>
              <a:gdLst>
                <a:gd name="connsiteX0" fmla="*/ 7144 w 1057275"/>
                <a:gd name="connsiteY0" fmla="*/ 7144 h 9525"/>
                <a:gd name="connsiteX1" fmla="*/ 1054894 w 1057275"/>
                <a:gd name="connsiteY1" fmla="*/ 7144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7275" h="9525">
                  <a:moveTo>
                    <a:pt x="7144" y="7144"/>
                  </a:moveTo>
                  <a:lnTo>
                    <a:pt x="1054894" y="7144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7CDD983-751C-46E1-85BE-78BA89A81EBD}"/>
                </a:ext>
              </a:extLst>
            </p:cNvPr>
            <p:cNvSpPr/>
            <p:nvPr/>
          </p:nvSpPr>
          <p:spPr>
            <a:xfrm>
              <a:off x="7383387" y="6044063"/>
              <a:ext cx="1545106" cy="206825"/>
            </a:xfrm>
            <a:custGeom>
              <a:avLst/>
              <a:gdLst>
                <a:gd name="connsiteX0" fmla="*/ 1131094 w 1209675"/>
                <a:gd name="connsiteY0" fmla="*/ 161449 h 161925"/>
                <a:gd name="connsiteX1" fmla="*/ 83344 w 1209675"/>
                <a:gd name="connsiteY1" fmla="*/ 161449 h 161925"/>
                <a:gd name="connsiteX2" fmla="*/ 7144 w 1209675"/>
                <a:gd name="connsiteY2" fmla="*/ 84296 h 161925"/>
                <a:gd name="connsiteX3" fmla="*/ 83344 w 1209675"/>
                <a:gd name="connsiteY3" fmla="*/ 7144 h 161925"/>
                <a:gd name="connsiteX4" fmla="*/ 1131094 w 1209675"/>
                <a:gd name="connsiteY4" fmla="*/ 7144 h 161925"/>
                <a:gd name="connsiteX5" fmla="*/ 1207294 w 1209675"/>
                <a:gd name="connsiteY5" fmla="*/ 84296 h 161925"/>
                <a:gd name="connsiteX6" fmla="*/ 1131094 w 1209675"/>
                <a:gd name="connsiteY6" fmla="*/ 16144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9675" h="161925">
                  <a:moveTo>
                    <a:pt x="1131094" y="161449"/>
                  </a:moveTo>
                  <a:lnTo>
                    <a:pt x="83344" y="161449"/>
                  </a:lnTo>
                  <a:cubicBezTo>
                    <a:pt x="41434" y="161449"/>
                    <a:pt x="7144" y="127159"/>
                    <a:pt x="7144" y="84296"/>
                  </a:cubicBezTo>
                  <a:cubicBezTo>
                    <a:pt x="7144" y="41434"/>
                    <a:pt x="41434" y="7144"/>
                    <a:pt x="83344" y="7144"/>
                  </a:cubicBezTo>
                  <a:lnTo>
                    <a:pt x="1131094" y="7144"/>
                  </a:lnTo>
                  <a:cubicBezTo>
                    <a:pt x="1173004" y="7144"/>
                    <a:pt x="1207294" y="41434"/>
                    <a:pt x="1207294" y="84296"/>
                  </a:cubicBezTo>
                  <a:cubicBezTo>
                    <a:pt x="1206341" y="126206"/>
                    <a:pt x="1173004" y="161449"/>
                    <a:pt x="1131094" y="161449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FF21B45-8CD8-4119-A5D2-92124E737527}"/>
                </a:ext>
              </a:extLst>
            </p:cNvPr>
            <p:cNvSpPr/>
            <p:nvPr/>
          </p:nvSpPr>
          <p:spPr>
            <a:xfrm>
              <a:off x="4675273" y="1043948"/>
              <a:ext cx="6951600" cy="3909600"/>
            </a:xfrm>
            <a:custGeom>
              <a:avLst/>
              <a:gdLst>
                <a:gd name="connsiteX0" fmla="*/ 5487829 w 5553075"/>
                <a:gd name="connsiteY0" fmla="*/ 2249329 h 2247900"/>
                <a:gd name="connsiteX1" fmla="*/ 66199 w 5553075"/>
                <a:gd name="connsiteY1" fmla="*/ 2249329 h 2247900"/>
                <a:gd name="connsiteX2" fmla="*/ 7144 w 5553075"/>
                <a:gd name="connsiteY2" fmla="*/ 2210276 h 2247900"/>
                <a:gd name="connsiteX3" fmla="*/ 7144 w 5553075"/>
                <a:gd name="connsiteY3" fmla="*/ 46196 h 2247900"/>
                <a:gd name="connsiteX4" fmla="*/ 66199 w 5553075"/>
                <a:gd name="connsiteY4" fmla="*/ 7144 h 2247900"/>
                <a:gd name="connsiteX5" fmla="*/ 5488782 w 5553075"/>
                <a:gd name="connsiteY5" fmla="*/ 7144 h 2247900"/>
                <a:gd name="connsiteX6" fmla="*/ 5547837 w 5553075"/>
                <a:gd name="connsiteY6" fmla="*/ 46196 h 2247900"/>
                <a:gd name="connsiteX7" fmla="*/ 5547837 w 5553075"/>
                <a:gd name="connsiteY7" fmla="*/ 2210276 h 2247900"/>
                <a:gd name="connsiteX8" fmla="*/ 5487829 w 5553075"/>
                <a:gd name="connsiteY8" fmla="*/ 2249329 h 224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53075" h="2247900">
                  <a:moveTo>
                    <a:pt x="5487829" y="2249329"/>
                  </a:moveTo>
                  <a:lnTo>
                    <a:pt x="66199" y="2249329"/>
                  </a:lnTo>
                  <a:cubicBezTo>
                    <a:pt x="33814" y="2249329"/>
                    <a:pt x="7144" y="2232184"/>
                    <a:pt x="7144" y="2210276"/>
                  </a:cubicBezTo>
                  <a:lnTo>
                    <a:pt x="7144" y="46196"/>
                  </a:lnTo>
                  <a:cubicBezTo>
                    <a:pt x="7144" y="25241"/>
                    <a:pt x="33814" y="7144"/>
                    <a:pt x="66199" y="7144"/>
                  </a:cubicBezTo>
                  <a:lnTo>
                    <a:pt x="5488782" y="7144"/>
                  </a:lnTo>
                  <a:cubicBezTo>
                    <a:pt x="5521166" y="7144"/>
                    <a:pt x="5547837" y="24289"/>
                    <a:pt x="5547837" y="46196"/>
                  </a:cubicBezTo>
                  <a:lnTo>
                    <a:pt x="5547837" y="2210276"/>
                  </a:lnTo>
                  <a:cubicBezTo>
                    <a:pt x="5546884" y="2232184"/>
                    <a:pt x="5520214" y="2249329"/>
                    <a:pt x="5487829" y="22493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FD2CBF0-155B-4BEE-95E5-655C58660793}"/>
                </a:ext>
              </a:extLst>
            </p:cNvPr>
            <p:cNvSpPr/>
            <p:nvPr/>
          </p:nvSpPr>
          <p:spPr>
            <a:xfrm>
              <a:off x="4636261" y="5107538"/>
              <a:ext cx="121662" cy="121662"/>
            </a:xfrm>
            <a:custGeom>
              <a:avLst/>
              <a:gdLst>
                <a:gd name="connsiteX0" fmla="*/ 94774 w 95250"/>
                <a:gd name="connsiteY0" fmla="*/ 51911 h 95250"/>
                <a:gd name="connsiteX1" fmla="*/ 50959 w 95250"/>
                <a:gd name="connsiteY1" fmla="*/ 96679 h 95250"/>
                <a:gd name="connsiteX2" fmla="*/ 7144 w 95250"/>
                <a:gd name="connsiteY2" fmla="*/ 51911 h 95250"/>
                <a:gd name="connsiteX3" fmla="*/ 50959 w 95250"/>
                <a:gd name="connsiteY3" fmla="*/ 7144 h 95250"/>
                <a:gd name="connsiteX4" fmla="*/ 94774 w 95250"/>
                <a:gd name="connsiteY4" fmla="*/ 51911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4774" y="51911"/>
                  </a:moveTo>
                  <a:cubicBezTo>
                    <a:pt x="94774" y="76676"/>
                    <a:pt x="75724" y="96679"/>
                    <a:pt x="50959" y="96679"/>
                  </a:cubicBezTo>
                  <a:cubicBezTo>
                    <a:pt x="27146" y="96679"/>
                    <a:pt x="7144" y="76676"/>
                    <a:pt x="7144" y="51911"/>
                  </a:cubicBezTo>
                  <a:cubicBezTo>
                    <a:pt x="7144" y="27146"/>
                    <a:pt x="26194" y="7144"/>
                    <a:pt x="50959" y="7144"/>
                  </a:cubicBezTo>
                  <a:cubicBezTo>
                    <a:pt x="74771" y="7144"/>
                    <a:pt x="94774" y="27146"/>
                    <a:pt x="94774" y="51911"/>
                  </a:cubicBezTo>
                  <a:close/>
                </a:path>
              </a:pathLst>
            </a:custGeom>
            <a:solidFill>
              <a:srgbClr val="A7A9A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5FAB8F5-4345-4AC4-9995-25F03745248B}"/>
                </a:ext>
              </a:extLst>
            </p:cNvPr>
            <p:cNvSpPr/>
            <p:nvPr/>
          </p:nvSpPr>
          <p:spPr>
            <a:xfrm>
              <a:off x="4830920" y="5103880"/>
              <a:ext cx="121662" cy="121662"/>
            </a:xfrm>
            <a:custGeom>
              <a:avLst/>
              <a:gdLst>
                <a:gd name="connsiteX0" fmla="*/ 94774 w 95250"/>
                <a:gd name="connsiteY0" fmla="*/ 51911 h 95250"/>
                <a:gd name="connsiteX1" fmla="*/ 50959 w 95250"/>
                <a:gd name="connsiteY1" fmla="*/ 96679 h 95250"/>
                <a:gd name="connsiteX2" fmla="*/ 7144 w 95250"/>
                <a:gd name="connsiteY2" fmla="*/ 51911 h 95250"/>
                <a:gd name="connsiteX3" fmla="*/ 50959 w 95250"/>
                <a:gd name="connsiteY3" fmla="*/ 7144 h 95250"/>
                <a:gd name="connsiteX4" fmla="*/ 94774 w 95250"/>
                <a:gd name="connsiteY4" fmla="*/ 51911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4774" y="51911"/>
                  </a:moveTo>
                  <a:cubicBezTo>
                    <a:pt x="94774" y="76676"/>
                    <a:pt x="75724" y="96679"/>
                    <a:pt x="50959" y="96679"/>
                  </a:cubicBezTo>
                  <a:cubicBezTo>
                    <a:pt x="26194" y="96679"/>
                    <a:pt x="7144" y="76676"/>
                    <a:pt x="7144" y="51911"/>
                  </a:cubicBezTo>
                  <a:cubicBezTo>
                    <a:pt x="7144" y="27146"/>
                    <a:pt x="26194" y="7144"/>
                    <a:pt x="50959" y="7144"/>
                  </a:cubicBezTo>
                  <a:cubicBezTo>
                    <a:pt x="75724" y="7144"/>
                    <a:pt x="94774" y="27146"/>
                    <a:pt x="94774" y="51911"/>
                  </a:cubicBezTo>
                  <a:close/>
                </a:path>
              </a:pathLst>
            </a:custGeom>
            <a:solidFill>
              <a:srgbClr val="FB5A1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</p:grp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332490D2-5D6F-42A7-A1A5-B26419759151}"/>
              </a:ext>
            </a:extLst>
          </p:cNvPr>
          <p:cNvSpPr>
            <a:spLocks noGrp="1"/>
          </p:cNvSpPr>
          <p:nvPr userDrawn="1">
            <p:ph type="pic" sz="quarter" idx="12"/>
          </p:nvPr>
        </p:nvSpPr>
        <p:spPr bwMode="gray">
          <a:xfrm>
            <a:off x="7797104" y="2097328"/>
            <a:ext cx="11287351" cy="6273238"/>
          </a:xfrm>
          <a:solidFill>
            <a:schemeClr val="bg1"/>
          </a:solidFill>
        </p:spPr>
        <p:txBody>
          <a:bodyPr anchor="ctr"/>
          <a:lstStyle>
            <a:lvl1pPr algn="ctr">
              <a:defRPr sz="2638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Text">
            <a:extLst>
              <a:ext uri="{FF2B5EF4-FFF2-40B4-BE49-F238E27FC236}">
                <a16:creationId xmlns:a16="http://schemas.microsoft.com/office/drawing/2014/main" id="{655357FA-C2B7-41A4-8241-0CBE492E60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5109" y="1055017"/>
            <a:ext cx="6389859" cy="9270375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274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1"/>
            <a:ext cx="10504392" cy="1130855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197680" y="1659306"/>
            <a:ext cx="8109584" cy="6308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99" b="1" i="0">
                <a:solidFill>
                  <a:srgbClr val="96E3D6"/>
                </a:solidFill>
                <a:latin typeface="Quicksand-SemiBold"/>
                <a:cs typeface="Quicksand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478811" y="6178290"/>
            <a:ext cx="7546341" cy="16696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849" b="0" i="0">
                <a:solidFill>
                  <a:schemeClr val="bg1"/>
                </a:solidFill>
                <a:latin typeface="Quicksand"/>
                <a:cs typeface="Quicksand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1713617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uter +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Screen Shapes">
            <a:extLst>
              <a:ext uri="{FF2B5EF4-FFF2-40B4-BE49-F238E27FC236}">
                <a16:creationId xmlns:a16="http://schemas.microsoft.com/office/drawing/2014/main" id="{F78CB947-AFFA-4B63-A0DA-9CCA28AB7BAE}"/>
              </a:ext>
            </a:extLst>
          </p:cNvPr>
          <p:cNvGrpSpPr/>
          <p:nvPr userDrawn="1"/>
        </p:nvGrpSpPr>
        <p:grpSpPr>
          <a:xfrm>
            <a:off x="7472472" y="1842573"/>
            <a:ext cx="11953639" cy="9057892"/>
            <a:chOff x="4531632" y="942217"/>
            <a:chExt cx="7249206" cy="5492714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D9813B11-5E0E-4523-9F7A-D38DAD8D14DC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562475" y="964406"/>
              <a:ext cx="7218363" cy="5470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B5A5E37-7093-4462-A21D-F4AE2FCE9CB8}"/>
                </a:ext>
              </a:extLst>
            </p:cNvPr>
            <p:cNvSpPr/>
            <p:nvPr/>
          </p:nvSpPr>
          <p:spPr>
            <a:xfrm>
              <a:off x="7699708" y="5461303"/>
              <a:ext cx="900298" cy="693473"/>
            </a:xfrm>
            <a:custGeom>
              <a:avLst/>
              <a:gdLst>
                <a:gd name="connsiteX0" fmla="*/ 704374 w 704850"/>
                <a:gd name="connsiteY0" fmla="*/ 540544 h 542925"/>
                <a:gd name="connsiteX1" fmla="*/ 615791 w 704850"/>
                <a:gd name="connsiteY1" fmla="*/ 7144 h 542925"/>
                <a:gd name="connsiteX2" fmla="*/ 88106 w 704850"/>
                <a:gd name="connsiteY2" fmla="*/ 7144 h 542925"/>
                <a:gd name="connsiteX3" fmla="*/ 7144 w 704850"/>
                <a:gd name="connsiteY3" fmla="*/ 540544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4850" h="542925">
                  <a:moveTo>
                    <a:pt x="704374" y="540544"/>
                  </a:moveTo>
                  <a:lnTo>
                    <a:pt x="615791" y="7144"/>
                  </a:lnTo>
                  <a:lnTo>
                    <a:pt x="88106" y="7144"/>
                  </a:lnTo>
                  <a:lnTo>
                    <a:pt x="7144" y="540544"/>
                  </a:ln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0ADC793-2A40-4957-9665-DBAE3874209F}"/>
                </a:ext>
              </a:extLst>
            </p:cNvPr>
            <p:cNvSpPr/>
            <p:nvPr/>
          </p:nvSpPr>
          <p:spPr>
            <a:xfrm>
              <a:off x="7651530" y="5412638"/>
              <a:ext cx="997628" cy="790802"/>
            </a:xfrm>
            <a:custGeom>
              <a:avLst/>
              <a:gdLst>
                <a:gd name="connsiteX0" fmla="*/ 742093 w 781050"/>
                <a:gd name="connsiteY0" fmla="*/ 617696 h 619125"/>
                <a:gd name="connsiteX1" fmla="*/ 44863 w 781050"/>
                <a:gd name="connsiteY1" fmla="*/ 617696 h 619125"/>
                <a:gd name="connsiteX2" fmla="*/ 16288 w 781050"/>
                <a:gd name="connsiteY2" fmla="*/ 604361 h 619125"/>
                <a:gd name="connsiteX3" fmla="*/ 7715 w 781050"/>
                <a:gd name="connsiteY3" fmla="*/ 572929 h 619125"/>
                <a:gd name="connsiteX4" fmla="*/ 88678 w 781050"/>
                <a:gd name="connsiteY4" fmla="*/ 39529 h 619125"/>
                <a:gd name="connsiteX5" fmla="*/ 125825 w 781050"/>
                <a:gd name="connsiteY5" fmla="*/ 7144 h 619125"/>
                <a:gd name="connsiteX6" fmla="*/ 653510 w 781050"/>
                <a:gd name="connsiteY6" fmla="*/ 7144 h 619125"/>
                <a:gd name="connsiteX7" fmla="*/ 690658 w 781050"/>
                <a:gd name="connsiteY7" fmla="*/ 39529 h 619125"/>
                <a:gd name="connsiteX8" fmla="*/ 779240 w 781050"/>
                <a:gd name="connsiteY8" fmla="*/ 572929 h 619125"/>
                <a:gd name="connsiteX9" fmla="*/ 770668 w 781050"/>
                <a:gd name="connsiteY9" fmla="*/ 604361 h 619125"/>
                <a:gd name="connsiteX10" fmla="*/ 742093 w 781050"/>
                <a:gd name="connsiteY10" fmla="*/ 617696 h 619125"/>
                <a:gd name="connsiteX11" fmla="*/ 88678 w 781050"/>
                <a:gd name="connsiteY11" fmla="*/ 540544 h 619125"/>
                <a:gd name="connsiteX12" fmla="*/ 697325 w 781050"/>
                <a:gd name="connsiteY12" fmla="*/ 540544 h 619125"/>
                <a:gd name="connsiteX13" fmla="*/ 621125 w 781050"/>
                <a:gd name="connsiteY13" fmla="*/ 84296 h 619125"/>
                <a:gd name="connsiteX14" fmla="*/ 158210 w 781050"/>
                <a:gd name="connsiteY14" fmla="*/ 84296 h 619125"/>
                <a:gd name="connsiteX15" fmla="*/ 88678 w 781050"/>
                <a:gd name="connsiteY15" fmla="*/ 540544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050" h="619125">
                  <a:moveTo>
                    <a:pt x="742093" y="617696"/>
                  </a:moveTo>
                  <a:lnTo>
                    <a:pt x="44863" y="617696"/>
                  </a:lnTo>
                  <a:cubicBezTo>
                    <a:pt x="33433" y="617696"/>
                    <a:pt x="22955" y="612934"/>
                    <a:pt x="16288" y="604361"/>
                  </a:cubicBezTo>
                  <a:cubicBezTo>
                    <a:pt x="8668" y="595789"/>
                    <a:pt x="5810" y="584359"/>
                    <a:pt x="7715" y="572929"/>
                  </a:cubicBezTo>
                  <a:lnTo>
                    <a:pt x="88678" y="39529"/>
                  </a:lnTo>
                  <a:cubicBezTo>
                    <a:pt x="91535" y="20479"/>
                    <a:pt x="107728" y="7144"/>
                    <a:pt x="125825" y="7144"/>
                  </a:cubicBezTo>
                  <a:lnTo>
                    <a:pt x="653510" y="7144"/>
                  </a:lnTo>
                  <a:cubicBezTo>
                    <a:pt x="671608" y="7144"/>
                    <a:pt x="687800" y="20479"/>
                    <a:pt x="690658" y="39529"/>
                  </a:cubicBezTo>
                  <a:lnTo>
                    <a:pt x="779240" y="572929"/>
                  </a:lnTo>
                  <a:cubicBezTo>
                    <a:pt x="781145" y="584359"/>
                    <a:pt x="778288" y="595789"/>
                    <a:pt x="770668" y="604361"/>
                  </a:cubicBezTo>
                  <a:cubicBezTo>
                    <a:pt x="764000" y="611981"/>
                    <a:pt x="753523" y="617696"/>
                    <a:pt x="742093" y="617696"/>
                  </a:cubicBezTo>
                  <a:close/>
                  <a:moveTo>
                    <a:pt x="88678" y="540544"/>
                  </a:moveTo>
                  <a:lnTo>
                    <a:pt x="697325" y="540544"/>
                  </a:lnTo>
                  <a:lnTo>
                    <a:pt x="621125" y="84296"/>
                  </a:lnTo>
                  <a:lnTo>
                    <a:pt x="158210" y="84296"/>
                  </a:lnTo>
                  <a:lnTo>
                    <a:pt x="88678" y="540544"/>
                  </a:ln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C4664D7-C5DA-41C0-B022-0108540ED583}"/>
                </a:ext>
              </a:extLst>
            </p:cNvPr>
            <p:cNvSpPr/>
            <p:nvPr/>
          </p:nvSpPr>
          <p:spPr>
            <a:xfrm>
              <a:off x="4682493" y="1040765"/>
              <a:ext cx="6934728" cy="3467364"/>
            </a:xfrm>
            <a:custGeom>
              <a:avLst/>
              <a:gdLst>
                <a:gd name="connsiteX0" fmla="*/ 7144 w 5429250"/>
                <a:gd name="connsiteY0" fmla="*/ 7144 h 2714625"/>
                <a:gd name="connsiteX1" fmla="*/ 5428774 w 5429250"/>
                <a:gd name="connsiteY1" fmla="*/ 7144 h 2714625"/>
                <a:gd name="connsiteX2" fmla="*/ 5428774 w 5429250"/>
                <a:gd name="connsiteY2" fmla="*/ 2712244 h 2714625"/>
                <a:gd name="connsiteX3" fmla="*/ 7144 w 5429250"/>
                <a:gd name="connsiteY3" fmla="*/ 2712244 h 271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9250" h="2714625">
                  <a:moveTo>
                    <a:pt x="7144" y="7144"/>
                  </a:moveTo>
                  <a:lnTo>
                    <a:pt x="5428774" y="7144"/>
                  </a:lnTo>
                  <a:lnTo>
                    <a:pt x="5428774" y="2712244"/>
                  </a:lnTo>
                  <a:lnTo>
                    <a:pt x="7144" y="2712244"/>
                  </a:ln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0147E95-B5A0-444C-A13F-A05A7B7747A6}"/>
                </a:ext>
              </a:extLst>
            </p:cNvPr>
            <p:cNvSpPr/>
            <p:nvPr/>
          </p:nvSpPr>
          <p:spPr>
            <a:xfrm>
              <a:off x="4531632" y="942217"/>
              <a:ext cx="7238883" cy="4519085"/>
            </a:xfrm>
            <a:custGeom>
              <a:avLst/>
              <a:gdLst>
                <a:gd name="connsiteX0" fmla="*/ 5546884 w 5667375"/>
                <a:gd name="connsiteY0" fmla="*/ 2866549 h 2867025"/>
                <a:gd name="connsiteX1" fmla="*/ 125254 w 5667375"/>
                <a:gd name="connsiteY1" fmla="*/ 2866549 h 2867025"/>
                <a:gd name="connsiteX2" fmla="*/ 7144 w 5667375"/>
                <a:gd name="connsiteY2" fmla="*/ 2789396 h 2867025"/>
                <a:gd name="connsiteX3" fmla="*/ 7144 w 5667375"/>
                <a:gd name="connsiteY3" fmla="*/ 84296 h 2867025"/>
                <a:gd name="connsiteX4" fmla="*/ 125254 w 5667375"/>
                <a:gd name="connsiteY4" fmla="*/ 7144 h 2867025"/>
                <a:gd name="connsiteX5" fmla="*/ 5547837 w 5667375"/>
                <a:gd name="connsiteY5" fmla="*/ 7144 h 2867025"/>
                <a:gd name="connsiteX6" fmla="*/ 5665946 w 5667375"/>
                <a:gd name="connsiteY6" fmla="*/ 84296 h 2867025"/>
                <a:gd name="connsiteX7" fmla="*/ 5665946 w 5667375"/>
                <a:gd name="connsiteY7" fmla="*/ 2789396 h 2867025"/>
                <a:gd name="connsiteX8" fmla="*/ 5546884 w 5667375"/>
                <a:gd name="connsiteY8" fmla="*/ 2866549 h 286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7375" h="2867025">
                  <a:moveTo>
                    <a:pt x="5546884" y="2866549"/>
                  </a:moveTo>
                  <a:lnTo>
                    <a:pt x="125254" y="2866549"/>
                  </a:lnTo>
                  <a:cubicBezTo>
                    <a:pt x="60484" y="2866549"/>
                    <a:pt x="7144" y="2832259"/>
                    <a:pt x="7144" y="2789396"/>
                  </a:cubicBezTo>
                  <a:lnTo>
                    <a:pt x="7144" y="84296"/>
                  </a:lnTo>
                  <a:cubicBezTo>
                    <a:pt x="7144" y="41434"/>
                    <a:pt x="59531" y="7144"/>
                    <a:pt x="125254" y="7144"/>
                  </a:cubicBezTo>
                  <a:lnTo>
                    <a:pt x="5547837" y="7144"/>
                  </a:lnTo>
                  <a:cubicBezTo>
                    <a:pt x="5612606" y="7144"/>
                    <a:pt x="5665946" y="41434"/>
                    <a:pt x="5665946" y="84296"/>
                  </a:cubicBezTo>
                  <a:lnTo>
                    <a:pt x="5665946" y="2789396"/>
                  </a:lnTo>
                  <a:cubicBezTo>
                    <a:pt x="5664994" y="2832259"/>
                    <a:pt x="5612606" y="2866549"/>
                    <a:pt x="5546884" y="2866549"/>
                  </a:cubicBez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11DC2D7-D877-4138-B3A2-FCCD66BF6E4D}"/>
                </a:ext>
              </a:extLst>
            </p:cNvPr>
            <p:cNvSpPr/>
            <p:nvPr/>
          </p:nvSpPr>
          <p:spPr>
            <a:xfrm>
              <a:off x="7480716" y="5189436"/>
              <a:ext cx="1350447" cy="12166"/>
            </a:xfrm>
            <a:custGeom>
              <a:avLst/>
              <a:gdLst>
                <a:gd name="connsiteX0" fmla="*/ 7144 w 1057275"/>
                <a:gd name="connsiteY0" fmla="*/ 7144 h 9525"/>
                <a:gd name="connsiteX1" fmla="*/ 1054894 w 1057275"/>
                <a:gd name="connsiteY1" fmla="*/ 7144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7275" h="9525">
                  <a:moveTo>
                    <a:pt x="7144" y="7144"/>
                  </a:moveTo>
                  <a:lnTo>
                    <a:pt x="1054894" y="7144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44DB8EB-DA72-43D7-A4B0-C2C7901E9239}"/>
                </a:ext>
              </a:extLst>
            </p:cNvPr>
            <p:cNvSpPr/>
            <p:nvPr/>
          </p:nvSpPr>
          <p:spPr>
            <a:xfrm>
              <a:off x="7383387" y="6044063"/>
              <a:ext cx="1545106" cy="206825"/>
            </a:xfrm>
            <a:custGeom>
              <a:avLst/>
              <a:gdLst>
                <a:gd name="connsiteX0" fmla="*/ 1131094 w 1209675"/>
                <a:gd name="connsiteY0" fmla="*/ 161449 h 161925"/>
                <a:gd name="connsiteX1" fmla="*/ 83344 w 1209675"/>
                <a:gd name="connsiteY1" fmla="*/ 161449 h 161925"/>
                <a:gd name="connsiteX2" fmla="*/ 7144 w 1209675"/>
                <a:gd name="connsiteY2" fmla="*/ 84296 h 161925"/>
                <a:gd name="connsiteX3" fmla="*/ 83344 w 1209675"/>
                <a:gd name="connsiteY3" fmla="*/ 7144 h 161925"/>
                <a:gd name="connsiteX4" fmla="*/ 1131094 w 1209675"/>
                <a:gd name="connsiteY4" fmla="*/ 7144 h 161925"/>
                <a:gd name="connsiteX5" fmla="*/ 1207294 w 1209675"/>
                <a:gd name="connsiteY5" fmla="*/ 84296 h 161925"/>
                <a:gd name="connsiteX6" fmla="*/ 1131094 w 1209675"/>
                <a:gd name="connsiteY6" fmla="*/ 16144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9675" h="161925">
                  <a:moveTo>
                    <a:pt x="1131094" y="161449"/>
                  </a:moveTo>
                  <a:lnTo>
                    <a:pt x="83344" y="161449"/>
                  </a:lnTo>
                  <a:cubicBezTo>
                    <a:pt x="41434" y="161449"/>
                    <a:pt x="7144" y="127159"/>
                    <a:pt x="7144" y="84296"/>
                  </a:cubicBezTo>
                  <a:cubicBezTo>
                    <a:pt x="7144" y="41434"/>
                    <a:pt x="41434" y="7144"/>
                    <a:pt x="83344" y="7144"/>
                  </a:cubicBezTo>
                  <a:lnTo>
                    <a:pt x="1131094" y="7144"/>
                  </a:lnTo>
                  <a:cubicBezTo>
                    <a:pt x="1173004" y="7144"/>
                    <a:pt x="1207294" y="41434"/>
                    <a:pt x="1207294" y="84296"/>
                  </a:cubicBezTo>
                  <a:cubicBezTo>
                    <a:pt x="1206341" y="126206"/>
                    <a:pt x="1173004" y="161449"/>
                    <a:pt x="1131094" y="161449"/>
                  </a:cubicBez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B9F3995-4128-4A2B-BFC2-94E4EEAE630C}"/>
                </a:ext>
              </a:extLst>
            </p:cNvPr>
            <p:cNvSpPr/>
            <p:nvPr/>
          </p:nvSpPr>
          <p:spPr>
            <a:xfrm>
              <a:off x="4675273" y="1043948"/>
              <a:ext cx="6951600" cy="3909600"/>
            </a:xfrm>
            <a:custGeom>
              <a:avLst/>
              <a:gdLst>
                <a:gd name="connsiteX0" fmla="*/ 5487829 w 5553075"/>
                <a:gd name="connsiteY0" fmla="*/ 2249329 h 2247900"/>
                <a:gd name="connsiteX1" fmla="*/ 66199 w 5553075"/>
                <a:gd name="connsiteY1" fmla="*/ 2249329 h 2247900"/>
                <a:gd name="connsiteX2" fmla="*/ 7144 w 5553075"/>
                <a:gd name="connsiteY2" fmla="*/ 2210276 h 2247900"/>
                <a:gd name="connsiteX3" fmla="*/ 7144 w 5553075"/>
                <a:gd name="connsiteY3" fmla="*/ 46196 h 2247900"/>
                <a:gd name="connsiteX4" fmla="*/ 66199 w 5553075"/>
                <a:gd name="connsiteY4" fmla="*/ 7144 h 2247900"/>
                <a:gd name="connsiteX5" fmla="*/ 5488782 w 5553075"/>
                <a:gd name="connsiteY5" fmla="*/ 7144 h 2247900"/>
                <a:gd name="connsiteX6" fmla="*/ 5547837 w 5553075"/>
                <a:gd name="connsiteY6" fmla="*/ 46196 h 2247900"/>
                <a:gd name="connsiteX7" fmla="*/ 5547837 w 5553075"/>
                <a:gd name="connsiteY7" fmla="*/ 2210276 h 2247900"/>
                <a:gd name="connsiteX8" fmla="*/ 5487829 w 5553075"/>
                <a:gd name="connsiteY8" fmla="*/ 2249329 h 224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53075" h="2247900">
                  <a:moveTo>
                    <a:pt x="5487829" y="2249329"/>
                  </a:moveTo>
                  <a:lnTo>
                    <a:pt x="66199" y="2249329"/>
                  </a:lnTo>
                  <a:cubicBezTo>
                    <a:pt x="33814" y="2249329"/>
                    <a:pt x="7144" y="2232184"/>
                    <a:pt x="7144" y="2210276"/>
                  </a:cubicBezTo>
                  <a:lnTo>
                    <a:pt x="7144" y="46196"/>
                  </a:lnTo>
                  <a:cubicBezTo>
                    <a:pt x="7144" y="25241"/>
                    <a:pt x="33814" y="7144"/>
                    <a:pt x="66199" y="7144"/>
                  </a:cubicBezTo>
                  <a:lnTo>
                    <a:pt x="5488782" y="7144"/>
                  </a:lnTo>
                  <a:cubicBezTo>
                    <a:pt x="5521166" y="7144"/>
                    <a:pt x="5547837" y="24289"/>
                    <a:pt x="5547837" y="46196"/>
                  </a:cubicBezTo>
                  <a:lnTo>
                    <a:pt x="5547837" y="2210276"/>
                  </a:lnTo>
                  <a:cubicBezTo>
                    <a:pt x="5546884" y="2232184"/>
                    <a:pt x="5520214" y="2249329"/>
                    <a:pt x="5487829" y="22493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CD84F27-E30F-4280-890B-7AF772A82356}"/>
                </a:ext>
              </a:extLst>
            </p:cNvPr>
            <p:cNvSpPr/>
            <p:nvPr/>
          </p:nvSpPr>
          <p:spPr>
            <a:xfrm>
              <a:off x="4636261" y="5107538"/>
              <a:ext cx="121662" cy="121662"/>
            </a:xfrm>
            <a:custGeom>
              <a:avLst/>
              <a:gdLst>
                <a:gd name="connsiteX0" fmla="*/ 94774 w 95250"/>
                <a:gd name="connsiteY0" fmla="*/ 51911 h 95250"/>
                <a:gd name="connsiteX1" fmla="*/ 50959 w 95250"/>
                <a:gd name="connsiteY1" fmla="*/ 96679 h 95250"/>
                <a:gd name="connsiteX2" fmla="*/ 7144 w 95250"/>
                <a:gd name="connsiteY2" fmla="*/ 51911 h 95250"/>
                <a:gd name="connsiteX3" fmla="*/ 50959 w 95250"/>
                <a:gd name="connsiteY3" fmla="*/ 7144 h 95250"/>
                <a:gd name="connsiteX4" fmla="*/ 94774 w 95250"/>
                <a:gd name="connsiteY4" fmla="*/ 51911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4774" y="51911"/>
                  </a:moveTo>
                  <a:cubicBezTo>
                    <a:pt x="94774" y="76676"/>
                    <a:pt x="75724" y="96679"/>
                    <a:pt x="50959" y="96679"/>
                  </a:cubicBezTo>
                  <a:cubicBezTo>
                    <a:pt x="27146" y="96679"/>
                    <a:pt x="7144" y="76676"/>
                    <a:pt x="7144" y="51911"/>
                  </a:cubicBezTo>
                  <a:cubicBezTo>
                    <a:pt x="7144" y="27146"/>
                    <a:pt x="26194" y="7144"/>
                    <a:pt x="50959" y="7144"/>
                  </a:cubicBezTo>
                  <a:cubicBezTo>
                    <a:pt x="74771" y="7144"/>
                    <a:pt x="94774" y="27146"/>
                    <a:pt x="94774" y="51911"/>
                  </a:cubicBezTo>
                  <a:close/>
                </a:path>
              </a:pathLst>
            </a:custGeom>
            <a:solidFill>
              <a:srgbClr val="A7A9A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6A168EA-95B0-446F-857A-E3FA35E7D733}"/>
                </a:ext>
              </a:extLst>
            </p:cNvPr>
            <p:cNvSpPr/>
            <p:nvPr/>
          </p:nvSpPr>
          <p:spPr>
            <a:xfrm>
              <a:off x="4830920" y="5103880"/>
              <a:ext cx="121662" cy="121662"/>
            </a:xfrm>
            <a:custGeom>
              <a:avLst/>
              <a:gdLst>
                <a:gd name="connsiteX0" fmla="*/ 94774 w 95250"/>
                <a:gd name="connsiteY0" fmla="*/ 51911 h 95250"/>
                <a:gd name="connsiteX1" fmla="*/ 50959 w 95250"/>
                <a:gd name="connsiteY1" fmla="*/ 96679 h 95250"/>
                <a:gd name="connsiteX2" fmla="*/ 7144 w 95250"/>
                <a:gd name="connsiteY2" fmla="*/ 51911 h 95250"/>
                <a:gd name="connsiteX3" fmla="*/ 50959 w 95250"/>
                <a:gd name="connsiteY3" fmla="*/ 7144 h 95250"/>
                <a:gd name="connsiteX4" fmla="*/ 94774 w 95250"/>
                <a:gd name="connsiteY4" fmla="*/ 51911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4774" y="51911"/>
                  </a:moveTo>
                  <a:cubicBezTo>
                    <a:pt x="94774" y="76676"/>
                    <a:pt x="75724" y="96679"/>
                    <a:pt x="50959" y="96679"/>
                  </a:cubicBezTo>
                  <a:cubicBezTo>
                    <a:pt x="26194" y="96679"/>
                    <a:pt x="7144" y="76676"/>
                    <a:pt x="7144" y="51911"/>
                  </a:cubicBezTo>
                  <a:cubicBezTo>
                    <a:pt x="7144" y="27146"/>
                    <a:pt x="26194" y="7144"/>
                    <a:pt x="50959" y="7144"/>
                  </a:cubicBezTo>
                  <a:cubicBezTo>
                    <a:pt x="75724" y="7144"/>
                    <a:pt x="94774" y="27146"/>
                    <a:pt x="94774" y="51911"/>
                  </a:cubicBezTo>
                  <a:close/>
                </a:path>
              </a:pathLst>
            </a:custGeom>
            <a:solidFill>
              <a:srgbClr val="FB5A1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2" name="Video Placeholder">
            <a:extLst>
              <a:ext uri="{FF2B5EF4-FFF2-40B4-BE49-F238E27FC236}">
                <a16:creationId xmlns:a16="http://schemas.microsoft.com/office/drawing/2014/main" id="{F3FFC23C-09CB-4BAF-BBBD-BD49AA9C9ABA}"/>
              </a:ext>
            </a:extLst>
          </p:cNvPr>
          <p:cNvSpPr>
            <a:spLocks noGrp="1"/>
          </p:cNvSpPr>
          <p:nvPr>
            <p:ph type="media" sz="quarter" idx="13"/>
            <p:custDataLst>
              <p:tags r:id="rId1"/>
            </p:custDataLst>
          </p:nvPr>
        </p:nvSpPr>
        <p:spPr bwMode="gray">
          <a:xfrm>
            <a:off x="7782791" y="2187378"/>
            <a:ext cx="11310697" cy="6125548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22" name="Text">
            <a:extLst>
              <a:ext uri="{FF2B5EF4-FFF2-40B4-BE49-F238E27FC236}">
                <a16:creationId xmlns:a16="http://schemas.microsoft.com/office/drawing/2014/main" id="{655357FA-C2B7-41A4-8241-0CBE492E6021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725109" y="1055017"/>
            <a:ext cx="6389859" cy="9270375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689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uter + du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Screen Shapes">
            <a:extLst>
              <a:ext uri="{FF2B5EF4-FFF2-40B4-BE49-F238E27FC236}">
                <a16:creationId xmlns:a16="http://schemas.microsoft.com/office/drawing/2014/main" id="{81868D26-AFD3-4B70-AF53-CE14F67A6952}"/>
              </a:ext>
            </a:extLst>
          </p:cNvPr>
          <p:cNvGrpSpPr/>
          <p:nvPr userDrawn="1"/>
        </p:nvGrpSpPr>
        <p:grpSpPr>
          <a:xfrm>
            <a:off x="7472472" y="1842573"/>
            <a:ext cx="11953639" cy="9057892"/>
            <a:chOff x="4531632" y="942217"/>
            <a:chExt cx="7249206" cy="5492714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C60CC1BA-C361-4654-A90B-E6CABCB4F644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562475" y="964406"/>
              <a:ext cx="7218363" cy="5470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CA1F5F4E-8E34-47BE-AFD8-4429096BF178}"/>
                </a:ext>
              </a:extLst>
            </p:cNvPr>
            <p:cNvSpPr/>
            <p:nvPr/>
          </p:nvSpPr>
          <p:spPr>
            <a:xfrm>
              <a:off x="7699708" y="5461303"/>
              <a:ext cx="900298" cy="693473"/>
            </a:xfrm>
            <a:custGeom>
              <a:avLst/>
              <a:gdLst>
                <a:gd name="connsiteX0" fmla="*/ 704374 w 704850"/>
                <a:gd name="connsiteY0" fmla="*/ 540544 h 542925"/>
                <a:gd name="connsiteX1" fmla="*/ 615791 w 704850"/>
                <a:gd name="connsiteY1" fmla="*/ 7144 h 542925"/>
                <a:gd name="connsiteX2" fmla="*/ 88106 w 704850"/>
                <a:gd name="connsiteY2" fmla="*/ 7144 h 542925"/>
                <a:gd name="connsiteX3" fmla="*/ 7144 w 704850"/>
                <a:gd name="connsiteY3" fmla="*/ 540544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4850" h="542925">
                  <a:moveTo>
                    <a:pt x="704374" y="540544"/>
                  </a:moveTo>
                  <a:lnTo>
                    <a:pt x="615791" y="7144"/>
                  </a:lnTo>
                  <a:lnTo>
                    <a:pt x="88106" y="7144"/>
                  </a:lnTo>
                  <a:lnTo>
                    <a:pt x="7144" y="540544"/>
                  </a:ln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42EDA31-71E5-4A0A-AD63-72D7EDB07261}"/>
                </a:ext>
              </a:extLst>
            </p:cNvPr>
            <p:cNvSpPr/>
            <p:nvPr/>
          </p:nvSpPr>
          <p:spPr>
            <a:xfrm>
              <a:off x="7651530" y="5412638"/>
              <a:ext cx="997628" cy="790802"/>
            </a:xfrm>
            <a:custGeom>
              <a:avLst/>
              <a:gdLst>
                <a:gd name="connsiteX0" fmla="*/ 742093 w 781050"/>
                <a:gd name="connsiteY0" fmla="*/ 617696 h 619125"/>
                <a:gd name="connsiteX1" fmla="*/ 44863 w 781050"/>
                <a:gd name="connsiteY1" fmla="*/ 617696 h 619125"/>
                <a:gd name="connsiteX2" fmla="*/ 16288 w 781050"/>
                <a:gd name="connsiteY2" fmla="*/ 604361 h 619125"/>
                <a:gd name="connsiteX3" fmla="*/ 7715 w 781050"/>
                <a:gd name="connsiteY3" fmla="*/ 572929 h 619125"/>
                <a:gd name="connsiteX4" fmla="*/ 88678 w 781050"/>
                <a:gd name="connsiteY4" fmla="*/ 39529 h 619125"/>
                <a:gd name="connsiteX5" fmla="*/ 125825 w 781050"/>
                <a:gd name="connsiteY5" fmla="*/ 7144 h 619125"/>
                <a:gd name="connsiteX6" fmla="*/ 653510 w 781050"/>
                <a:gd name="connsiteY6" fmla="*/ 7144 h 619125"/>
                <a:gd name="connsiteX7" fmla="*/ 690658 w 781050"/>
                <a:gd name="connsiteY7" fmla="*/ 39529 h 619125"/>
                <a:gd name="connsiteX8" fmla="*/ 779240 w 781050"/>
                <a:gd name="connsiteY8" fmla="*/ 572929 h 619125"/>
                <a:gd name="connsiteX9" fmla="*/ 770668 w 781050"/>
                <a:gd name="connsiteY9" fmla="*/ 604361 h 619125"/>
                <a:gd name="connsiteX10" fmla="*/ 742093 w 781050"/>
                <a:gd name="connsiteY10" fmla="*/ 617696 h 619125"/>
                <a:gd name="connsiteX11" fmla="*/ 88678 w 781050"/>
                <a:gd name="connsiteY11" fmla="*/ 540544 h 619125"/>
                <a:gd name="connsiteX12" fmla="*/ 697325 w 781050"/>
                <a:gd name="connsiteY12" fmla="*/ 540544 h 619125"/>
                <a:gd name="connsiteX13" fmla="*/ 621125 w 781050"/>
                <a:gd name="connsiteY13" fmla="*/ 84296 h 619125"/>
                <a:gd name="connsiteX14" fmla="*/ 158210 w 781050"/>
                <a:gd name="connsiteY14" fmla="*/ 84296 h 619125"/>
                <a:gd name="connsiteX15" fmla="*/ 88678 w 781050"/>
                <a:gd name="connsiteY15" fmla="*/ 540544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050" h="619125">
                  <a:moveTo>
                    <a:pt x="742093" y="617696"/>
                  </a:moveTo>
                  <a:lnTo>
                    <a:pt x="44863" y="617696"/>
                  </a:lnTo>
                  <a:cubicBezTo>
                    <a:pt x="33433" y="617696"/>
                    <a:pt x="22955" y="612934"/>
                    <a:pt x="16288" y="604361"/>
                  </a:cubicBezTo>
                  <a:cubicBezTo>
                    <a:pt x="8668" y="595789"/>
                    <a:pt x="5810" y="584359"/>
                    <a:pt x="7715" y="572929"/>
                  </a:cubicBezTo>
                  <a:lnTo>
                    <a:pt x="88678" y="39529"/>
                  </a:lnTo>
                  <a:cubicBezTo>
                    <a:pt x="91535" y="20479"/>
                    <a:pt x="107728" y="7144"/>
                    <a:pt x="125825" y="7144"/>
                  </a:cubicBezTo>
                  <a:lnTo>
                    <a:pt x="653510" y="7144"/>
                  </a:lnTo>
                  <a:cubicBezTo>
                    <a:pt x="671608" y="7144"/>
                    <a:pt x="687800" y="20479"/>
                    <a:pt x="690658" y="39529"/>
                  </a:cubicBezTo>
                  <a:lnTo>
                    <a:pt x="779240" y="572929"/>
                  </a:lnTo>
                  <a:cubicBezTo>
                    <a:pt x="781145" y="584359"/>
                    <a:pt x="778288" y="595789"/>
                    <a:pt x="770668" y="604361"/>
                  </a:cubicBezTo>
                  <a:cubicBezTo>
                    <a:pt x="764000" y="611981"/>
                    <a:pt x="753523" y="617696"/>
                    <a:pt x="742093" y="617696"/>
                  </a:cubicBezTo>
                  <a:close/>
                  <a:moveTo>
                    <a:pt x="88678" y="540544"/>
                  </a:moveTo>
                  <a:lnTo>
                    <a:pt x="697325" y="540544"/>
                  </a:lnTo>
                  <a:lnTo>
                    <a:pt x="621125" y="84296"/>
                  </a:lnTo>
                  <a:lnTo>
                    <a:pt x="158210" y="84296"/>
                  </a:lnTo>
                  <a:lnTo>
                    <a:pt x="88678" y="540544"/>
                  </a:ln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52ECFCFE-FDAD-494A-A944-8C83C991A1AE}"/>
                </a:ext>
              </a:extLst>
            </p:cNvPr>
            <p:cNvSpPr/>
            <p:nvPr/>
          </p:nvSpPr>
          <p:spPr>
            <a:xfrm>
              <a:off x="4682493" y="1040765"/>
              <a:ext cx="6934728" cy="3467364"/>
            </a:xfrm>
            <a:custGeom>
              <a:avLst/>
              <a:gdLst>
                <a:gd name="connsiteX0" fmla="*/ 7144 w 5429250"/>
                <a:gd name="connsiteY0" fmla="*/ 7144 h 2714625"/>
                <a:gd name="connsiteX1" fmla="*/ 5428774 w 5429250"/>
                <a:gd name="connsiteY1" fmla="*/ 7144 h 2714625"/>
                <a:gd name="connsiteX2" fmla="*/ 5428774 w 5429250"/>
                <a:gd name="connsiteY2" fmla="*/ 2712244 h 2714625"/>
                <a:gd name="connsiteX3" fmla="*/ 7144 w 5429250"/>
                <a:gd name="connsiteY3" fmla="*/ 2712244 h 271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9250" h="2714625">
                  <a:moveTo>
                    <a:pt x="7144" y="7144"/>
                  </a:moveTo>
                  <a:lnTo>
                    <a:pt x="5428774" y="7144"/>
                  </a:lnTo>
                  <a:lnTo>
                    <a:pt x="5428774" y="2712244"/>
                  </a:lnTo>
                  <a:lnTo>
                    <a:pt x="7144" y="2712244"/>
                  </a:ln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97EEC9C-6949-4528-8EDA-37B3C3D46871}"/>
                </a:ext>
              </a:extLst>
            </p:cNvPr>
            <p:cNvSpPr/>
            <p:nvPr/>
          </p:nvSpPr>
          <p:spPr>
            <a:xfrm>
              <a:off x="4531632" y="942217"/>
              <a:ext cx="7238883" cy="4519085"/>
            </a:xfrm>
            <a:custGeom>
              <a:avLst/>
              <a:gdLst>
                <a:gd name="connsiteX0" fmla="*/ 5546884 w 5667375"/>
                <a:gd name="connsiteY0" fmla="*/ 2866549 h 2867025"/>
                <a:gd name="connsiteX1" fmla="*/ 125254 w 5667375"/>
                <a:gd name="connsiteY1" fmla="*/ 2866549 h 2867025"/>
                <a:gd name="connsiteX2" fmla="*/ 7144 w 5667375"/>
                <a:gd name="connsiteY2" fmla="*/ 2789396 h 2867025"/>
                <a:gd name="connsiteX3" fmla="*/ 7144 w 5667375"/>
                <a:gd name="connsiteY3" fmla="*/ 84296 h 2867025"/>
                <a:gd name="connsiteX4" fmla="*/ 125254 w 5667375"/>
                <a:gd name="connsiteY4" fmla="*/ 7144 h 2867025"/>
                <a:gd name="connsiteX5" fmla="*/ 5547837 w 5667375"/>
                <a:gd name="connsiteY5" fmla="*/ 7144 h 2867025"/>
                <a:gd name="connsiteX6" fmla="*/ 5665946 w 5667375"/>
                <a:gd name="connsiteY6" fmla="*/ 84296 h 2867025"/>
                <a:gd name="connsiteX7" fmla="*/ 5665946 w 5667375"/>
                <a:gd name="connsiteY7" fmla="*/ 2789396 h 2867025"/>
                <a:gd name="connsiteX8" fmla="*/ 5546884 w 5667375"/>
                <a:gd name="connsiteY8" fmla="*/ 2866549 h 286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7375" h="2867025">
                  <a:moveTo>
                    <a:pt x="5546884" y="2866549"/>
                  </a:moveTo>
                  <a:lnTo>
                    <a:pt x="125254" y="2866549"/>
                  </a:lnTo>
                  <a:cubicBezTo>
                    <a:pt x="60484" y="2866549"/>
                    <a:pt x="7144" y="2832259"/>
                    <a:pt x="7144" y="2789396"/>
                  </a:cubicBezTo>
                  <a:lnTo>
                    <a:pt x="7144" y="84296"/>
                  </a:lnTo>
                  <a:cubicBezTo>
                    <a:pt x="7144" y="41434"/>
                    <a:pt x="59531" y="7144"/>
                    <a:pt x="125254" y="7144"/>
                  </a:cubicBezTo>
                  <a:lnTo>
                    <a:pt x="5547837" y="7144"/>
                  </a:lnTo>
                  <a:cubicBezTo>
                    <a:pt x="5612606" y="7144"/>
                    <a:pt x="5665946" y="41434"/>
                    <a:pt x="5665946" y="84296"/>
                  </a:cubicBezTo>
                  <a:lnTo>
                    <a:pt x="5665946" y="2789396"/>
                  </a:lnTo>
                  <a:cubicBezTo>
                    <a:pt x="5664994" y="2832259"/>
                    <a:pt x="5612606" y="2866549"/>
                    <a:pt x="5546884" y="2866549"/>
                  </a:cubicBez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8270723-E2AA-4485-B512-09CD0F9AD7D8}"/>
                </a:ext>
              </a:extLst>
            </p:cNvPr>
            <p:cNvSpPr/>
            <p:nvPr/>
          </p:nvSpPr>
          <p:spPr>
            <a:xfrm>
              <a:off x="7480716" y="5189436"/>
              <a:ext cx="1350447" cy="12166"/>
            </a:xfrm>
            <a:custGeom>
              <a:avLst/>
              <a:gdLst>
                <a:gd name="connsiteX0" fmla="*/ 7144 w 1057275"/>
                <a:gd name="connsiteY0" fmla="*/ 7144 h 9525"/>
                <a:gd name="connsiteX1" fmla="*/ 1054894 w 1057275"/>
                <a:gd name="connsiteY1" fmla="*/ 7144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7275" h="9525">
                  <a:moveTo>
                    <a:pt x="7144" y="7144"/>
                  </a:moveTo>
                  <a:lnTo>
                    <a:pt x="1054894" y="7144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0C8DA0E-1C8F-4680-8E93-1CE1BCF33E64}"/>
                </a:ext>
              </a:extLst>
            </p:cNvPr>
            <p:cNvSpPr/>
            <p:nvPr/>
          </p:nvSpPr>
          <p:spPr>
            <a:xfrm>
              <a:off x="7383387" y="6044063"/>
              <a:ext cx="1545106" cy="206825"/>
            </a:xfrm>
            <a:custGeom>
              <a:avLst/>
              <a:gdLst>
                <a:gd name="connsiteX0" fmla="*/ 1131094 w 1209675"/>
                <a:gd name="connsiteY0" fmla="*/ 161449 h 161925"/>
                <a:gd name="connsiteX1" fmla="*/ 83344 w 1209675"/>
                <a:gd name="connsiteY1" fmla="*/ 161449 h 161925"/>
                <a:gd name="connsiteX2" fmla="*/ 7144 w 1209675"/>
                <a:gd name="connsiteY2" fmla="*/ 84296 h 161925"/>
                <a:gd name="connsiteX3" fmla="*/ 83344 w 1209675"/>
                <a:gd name="connsiteY3" fmla="*/ 7144 h 161925"/>
                <a:gd name="connsiteX4" fmla="*/ 1131094 w 1209675"/>
                <a:gd name="connsiteY4" fmla="*/ 7144 h 161925"/>
                <a:gd name="connsiteX5" fmla="*/ 1207294 w 1209675"/>
                <a:gd name="connsiteY5" fmla="*/ 84296 h 161925"/>
                <a:gd name="connsiteX6" fmla="*/ 1131094 w 1209675"/>
                <a:gd name="connsiteY6" fmla="*/ 16144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9675" h="161925">
                  <a:moveTo>
                    <a:pt x="1131094" y="161449"/>
                  </a:moveTo>
                  <a:lnTo>
                    <a:pt x="83344" y="161449"/>
                  </a:lnTo>
                  <a:cubicBezTo>
                    <a:pt x="41434" y="161449"/>
                    <a:pt x="7144" y="127159"/>
                    <a:pt x="7144" y="84296"/>
                  </a:cubicBezTo>
                  <a:cubicBezTo>
                    <a:pt x="7144" y="41434"/>
                    <a:pt x="41434" y="7144"/>
                    <a:pt x="83344" y="7144"/>
                  </a:cubicBezTo>
                  <a:lnTo>
                    <a:pt x="1131094" y="7144"/>
                  </a:lnTo>
                  <a:cubicBezTo>
                    <a:pt x="1173004" y="7144"/>
                    <a:pt x="1207294" y="41434"/>
                    <a:pt x="1207294" y="84296"/>
                  </a:cubicBezTo>
                  <a:cubicBezTo>
                    <a:pt x="1206341" y="126206"/>
                    <a:pt x="1173004" y="161449"/>
                    <a:pt x="1131094" y="161449"/>
                  </a:cubicBez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3F5926D-FB22-4A3C-A9E6-2B58FC3ECEEE}"/>
                </a:ext>
              </a:extLst>
            </p:cNvPr>
            <p:cNvSpPr/>
            <p:nvPr/>
          </p:nvSpPr>
          <p:spPr>
            <a:xfrm>
              <a:off x="4675273" y="1043948"/>
              <a:ext cx="6951600" cy="3909600"/>
            </a:xfrm>
            <a:custGeom>
              <a:avLst/>
              <a:gdLst>
                <a:gd name="connsiteX0" fmla="*/ 5487829 w 5553075"/>
                <a:gd name="connsiteY0" fmla="*/ 2249329 h 2247900"/>
                <a:gd name="connsiteX1" fmla="*/ 66199 w 5553075"/>
                <a:gd name="connsiteY1" fmla="*/ 2249329 h 2247900"/>
                <a:gd name="connsiteX2" fmla="*/ 7144 w 5553075"/>
                <a:gd name="connsiteY2" fmla="*/ 2210276 h 2247900"/>
                <a:gd name="connsiteX3" fmla="*/ 7144 w 5553075"/>
                <a:gd name="connsiteY3" fmla="*/ 46196 h 2247900"/>
                <a:gd name="connsiteX4" fmla="*/ 66199 w 5553075"/>
                <a:gd name="connsiteY4" fmla="*/ 7144 h 2247900"/>
                <a:gd name="connsiteX5" fmla="*/ 5488782 w 5553075"/>
                <a:gd name="connsiteY5" fmla="*/ 7144 h 2247900"/>
                <a:gd name="connsiteX6" fmla="*/ 5547837 w 5553075"/>
                <a:gd name="connsiteY6" fmla="*/ 46196 h 2247900"/>
                <a:gd name="connsiteX7" fmla="*/ 5547837 w 5553075"/>
                <a:gd name="connsiteY7" fmla="*/ 2210276 h 2247900"/>
                <a:gd name="connsiteX8" fmla="*/ 5487829 w 5553075"/>
                <a:gd name="connsiteY8" fmla="*/ 2249329 h 224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53075" h="2247900">
                  <a:moveTo>
                    <a:pt x="5487829" y="2249329"/>
                  </a:moveTo>
                  <a:lnTo>
                    <a:pt x="66199" y="2249329"/>
                  </a:lnTo>
                  <a:cubicBezTo>
                    <a:pt x="33814" y="2249329"/>
                    <a:pt x="7144" y="2232184"/>
                    <a:pt x="7144" y="2210276"/>
                  </a:cubicBezTo>
                  <a:lnTo>
                    <a:pt x="7144" y="46196"/>
                  </a:lnTo>
                  <a:cubicBezTo>
                    <a:pt x="7144" y="25241"/>
                    <a:pt x="33814" y="7144"/>
                    <a:pt x="66199" y="7144"/>
                  </a:cubicBezTo>
                  <a:lnTo>
                    <a:pt x="5488782" y="7144"/>
                  </a:lnTo>
                  <a:cubicBezTo>
                    <a:pt x="5521166" y="7144"/>
                    <a:pt x="5547837" y="24289"/>
                    <a:pt x="5547837" y="46196"/>
                  </a:cubicBezTo>
                  <a:lnTo>
                    <a:pt x="5547837" y="2210276"/>
                  </a:lnTo>
                  <a:cubicBezTo>
                    <a:pt x="5546884" y="2232184"/>
                    <a:pt x="5520214" y="2249329"/>
                    <a:pt x="5487829" y="22493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45F1CF0-3482-4BD7-905E-7BC03B98E34F}"/>
                </a:ext>
              </a:extLst>
            </p:cNvPr>
            <p:cNvSpPr/>
            <p:nvPr/>
          </p:nvSpPr>
          <p:spPr>
            <a:xfrm>
              <a:off x="4636261" y="5107538"/>
              <a:ext cx="121662" cy="121662"/>
            </a:xfrm>
            <a:custGeom>
              <a:avLst/>
              <a:gdLst>
                <a:gd name="connsiteX0" fmla="*/ 94774 w 95250"/>
                <a:gd name="connsiteY0" fmla="*/ 51911 h 95250"/>
                <a:gd name="connsiteX1" fmla="*/ 50959 w 95250"/>
                <a:gd name="connsiteY1" fmla="*/ 96679 h 95250"/>
                <a:gd name="connsiteX2" fmla="*/ 7144 w 95250"/>
                <a:gd name="connsiteY2" fmla="*/ 51911 h 95250"/>
                <a:gd name="connsiteX3" fmla="*/ 50959 w 95250"/>
                <a:gd name="connsiteY3" fmla="*/ 7144 h 95250"/>
                <a:gd name="connsiteX4" fmla="*/ 94774 w 95250"/>
                <a:gd name="connsiteY4" fmla="*/ 51911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4774" y="51911"/>
                  </a:moveTo>
                  <a:cubicBezTo>
                    <a:pt x="94774" y="76676"/>
                    <a:pt x="75724" y="96679"/>
                    <a:pt x="50959" y="96679"/>
                  </a:cubicBezTo>
                  <a:cubicBezTo>
                    <a:pt x="27146" y="96679"/>
                    <a:pt x="7144" y="76676"/>
                    <a:pt x="7144" y="51911"/>
                  </a:cubicBezTo>
                  <a:cubicBezTo>
                    <a:pt x="7144" y="27146"/>
                    <a:pt x="26194" y="7144"/>
                    <a:pt x="50959" y="7144"/>
                  </a:cubicBezTo>
                  <a:cubicBezTo>
                    <a:pt x="74771" y="7144"/>
                    <a:pt x="94774" y="27146"/>
                    <a:pt x="94774" y="51911"/>
                  </a:cubicBezTo>
                  <a:close/>
                </a:path>
              </a:pathLst>
            </a:custGeom>
            <a:solidFill>
              <a:srgbClr val="A7A9A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5CE36E0-AC33-417F-82D7-C113782C4B15}"/>
                </a:ext>
              </a:extLst>
            </p:cNvPr>
            <p:cNvSpPr/>
            <p:nvPr/>
          </p:nvSpPr>
          <p:spPr>
            <a:xfrm>
              <a:off x="4830920" y="5103880"/>
              <a:ext cx="121662" cy="121662"/>
            </a:xfrm>
            <a:custGeom>
              <a:avLst/>
              <a:gdLst>
                <a:gd name="connsiteX0" fmla="*/ 94774 w 95250"/>
                <a:gd name="connsiteY0" fmla="*/ 51911 h 95250"/>
                <a:gd name="connsiteX1" fmla="*/ 50959 w 95250"/>
                <a:gd name="connsiteY1" fmla="*/ 96679 h 95250"/>
                <a:gd name="connsiteX2" fmla="*/ 7144 w 95250"/>
                <a:gd name="connsiteY2" fmla="*/ 51911 h 95250"/>
                <a:gd name="connsiteX3" fmla="*/ 50959 w 95250"/>
                <a:gd name="connsiteY3" fmla="*/ 7144 h 95250"/>
                <a:gd name="connsiteX4" fmla="*/ 94774 w 95250"/>
                <a:gd name="connsiteY4" fmla="*/ 51911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4774" y="51911"/>
                  </a:moveTo>
                  <a:cubicBezTo>
                    <a:pt x="94774" y="76676"/>
                    <a:pt x="75724" y="96679"/>
                    <a:pt x="50959" y="96679"/>
                  </a:cubicBezTo>
                  <a:cubicBezTo>
                    <a:pt x="26194" y="96679"/>
                    <a:pt x="7144" y="76676"/>
                    <a:pt x="7144" y="51911"/>
                  </a:cubicBezTo>
                  <a:cubicBezTo>
                    <a:pt x="7144" y="27146"/>
                    <a:pt x="26194" y="7144"/>
                    <a:pt x="50959" y="7144"/>
                  </a:cubicBezTo>
                  <a:cubicBezTo>
                    <a:pt x="75724" y="7144"/>
                    <a:pt x="94774" y="27146"/>
                    <a:pt x="94774" y="51911"/>
                  </a:cubicBezTo>
                  <a:close/>
                </a:path>
              </a:pathLst>
            </a:custGeom>
            <a:solidFill>
              <a:srgbClr val="FB5A1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0" name="AutoShape 3">
            <a:extLst>
              <a:ext uri="{FF2B5EF4-FFF2-40B4-BE49-F238E27FC236}">
                <a16:creationId xmlns:a16="http://schemas.microsoft.com/office/drawing/2014/main" id="{4B57715D-0D45-41CF-9242-4A8F0E5536D8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7523332" y="1582299"/>
            <a:ext cx="11902780" cy="9021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4" name="Pic 1">
            <a:extLst>
              <a:ext uri="{FF2B5EF4-FFF2-40B4-BE49-F238E27FC236}">
                <a16:creationId xmlns:a16="http://schemas.microsoft.com/office/drawing/2014/main" id="{5F140B81-154B-4E9F-85C8-38B5A676238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7914763" y="2106916"/>
            <a:ext cx="5336372" cy="6245744"/>
          </a:xfrm>
          <a:solidFill>
            <a:schemeClr val="bg1"/>
          </a:solidFill>
        </p:spPr>
        <p:txBody>
          <a:bodyPr anchor="ctr"/>
          <a:lstStyle>
            <a:lvl1pPr algn="ctr">
              <a:defRPr sz="3298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 2">
            <a:extLst>
              <a:ext uri="{FF2B5EF4-FFF2-40B4-BE49-F238E27FC236}">
                <a16:creationId xmlns:a16="http://schemas.microsoft.com/office/drawing/2014/main" id="{584CDB9B-4267-4304-98FB-91087CA408C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3621042" y="2106916"/>
            <a:ext cx="5336372" cy="6245744"/>
          </a:xfrm>
          <a:solidFill>
            <a:schemeClr val="bg1"/>
          </a:solidFill>
        </p:spPr>
        <p:txBody>
          <a:bodyPr anchor="ctr"/>
          <a:lstStyle>
            <a:lvl1pPr algn="ctr">
              <a:defRPr sz="3298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Text">
            <a:extLst>
              <a:ext uri="{FF2B5EF4-FFF2-40B4-BE49-F238E27FC236}">
                <a16:creationId xmlns:a16="http://schemas.microsoft.com/office/drawing/2014/main" id="{655357FA-C2B7-41A4-8241-0CBE492E602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5109" y="1055017"/>
            <a:ext cx="6389859" cy="9270375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0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uter + image -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Screen Shapes">
            <a:extLst>
              <a:ext uri="{FF2B5EF4-FFF2-40B4-BE49-F238E27FC236}">
                <a16:creationId xmlns:a16="http://schemas.microsoft.com/office/drawing/2014/main" id="{81E17560-3AB4-487A-9A26-6D6C16D23DD5}"/>
              </a:ext>
            </a:extLst>
          </p:cNvPr>
          <p:cNvGrpSpPr/>
          <p:nvPr userDrawn="1"/>
        </p:nvGrpSpPr>
        <p:grpSpPr>
          <a:xfrm>
            <a:off x="4075231" y="1842573"/>
            <a:ext cx="11953639" cy="9057892"/>
            <a:chOff x="4531632" y="942217"/>
            <a:chExt cx="7249206" cy="5492714"/>
          </a:xfrm>
        </p:grpSpPr>
        <p:sp>
          <p:nvSpPr>
            <p:cNvPr id="20" name="AutoShape 3">
              <a:extLst>
                <a:ext uri="{FF2B5EF4-FFF2-40B4-BE49-F238E27FC236}">
                  <a16:creationId xmlns:a16="http://schemas.microsoft.com/office/drawing/2014/main" id="{4B57715D-0D45-41CF-9242-4A8F0E5536D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562475" y="964406"/>
              <a:ext cx="7218363" cy="5470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/>
              <a:endParaRPr lang="en-GB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2B338ECA-36B6-441A-A47F-AAB60046388D}"/>
                </a:ext>
              </a:extLst>
            </p:cNvPr>
            <p:cNvSpPr/>
            <p:nvPr/>
          </p:nvSpPr>
          <p:spPr>
            <a:xfrm>
              <a:off x="7699708" y="5461303"/>
              <a:ext cx="900298" cy="693473"/>
            </a:xfrm>
            <a:custGeom>
              <a:avLst/>
              <a:gdLst>
                <a:gd name="connsiteX0" fmla="*/ 704374 w 704850"/>
                <a:gd name="connsiteY0" fmla="*/ 540544 h 542925"/>
                <a:gd name="connsiteX1" fmla="*/ 615791 w 704850"/>
                <a:gd name="connsiteY1" fmla="*/ 7144 h 542925"/>
                <a:gd name="connsiteX2" fmla="*/ 88106 w 704850"/>
                <a:gd name="connsiteY2" fmla="*/ 7144 h 542925"/>
                <a:gd name="connsiteX3" fmla="*/ 7144 w 704850"/>
                <a:gd name="connsiteY3" fmla="*/ 540544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4850" h="542925">
                  <a:moveTo>
                    <a:pt x="704374" y="540544"/>
                  </a:moveTo>
                  <a:lnTo>
                    <a:pt x="615791" y="7144"/>
                  </a:lnTo>
                  <a:lnTo>
                    <a:pt x="88106" y="7144"/>
                  </a:lnTo>
                  <a:lnTo>
                    <a:pt x="7144" y="540544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E7D9C2E3-E576-43F5-8BC1-CE3F7C5F84B0}"/>
                </a:ext>
              </a:extLst>
            </p:cNvPr>
            <p:cNvSpPr/>
            <p:nvPr/>
          </p:nvSpPr>
          <p:spPr>
            <a:xfrm>
              <a:off x="7651530" y="5412638"/>
              <a:ext cx="997628" cy="790802"/>
            </a:xfrm>
            <a:custGeom>
              <a:avLst/>
              <a:gdLst>
                <a:gd name="connsiteX0" fmla="*/ 742093 w 781050"/>
                <a:gd name="connsiteY0" fmla="*/ 617696 h 619125"/>
                <a:gd name="connsiteX1" fmla="*/ 44863 w 781050"/>
                <a:gd name="connsiteY1" fmla="*/ 617696 h 619125"/>
                <a:gd name="connsiteX2" fmla="*/ 16288 w 781050"/>
                <a:gd name="connsiteY2" fmla="*/ 604361 h 619125"/>
                <a:gd name="connsiteX3" fmla="*/ 7715 w 781050"/>
                <a:gd name="connsiteY3" fmla="*/ 572929 h 619125"/>
                <a:gd name="connsiteX4" fmla="*/ 88678 w 781050"/>
                <a:gd name="connsiteY4" fmla="*/ 39529 h 619125"/>
                <a:gd name="connsiteX5" fmla="*/ 125825 w 781050"/>
                <a:gd name="connsiteY5" fmla="*/ 7144 h 619125"/>
                <a:gd name="connsiteX6" fmla="*/ 653510 w 781050"/>
                <a:gd name="connsiteY6" fmla="*/ 7144 h 619125"/>
                <a:gd name="connsiteX7" fmla="*/ 690658 w 781050"/>
                <a:gd name="connsiteY7" fmla="*/ 39529 h 619125"/>
                <a:gd name="connsiteX8" fmla="*/ 779240 w 781050"/>
                <a:gd name="connsiteY8" fmla="*/ 572929 h 619125"/>
                <a:gd name="connsiteX9" fmla="*/ 770668 w 781050"/>
                <a:gd name="connsiteY9" fmla="*/ 604361 h 619125"/>
                <a:gd name="connsiteX10" fmla="*/ 742093 w 781050"/>
                <a:gd name="connsiteY10" fmla="*/ 617696 h 619125"/>
                <a:gd name="connsiteX11" fmla="*/ 88678 w 781050"/>
                <a:gd name="connsiteY11" fmla="*/ 540544 h 619125"/>
                <a:gd name="connsiteX12" fmla="*/ 697325 w 781050"/>
                <a:gd name="connsiteY12" fmla="*/ 540544 h 619125"/>
                <a:gd name="connsiteX13" fmla="*/ 621125 w 781050"/>
                <a:gd name="connsiteY13" fmla="*/ 84296 h 619125"/>
                <a:gd name="connsiteX14" fmla="*/ 158210 w 781050"/>
                <a:gd name="connsiteY14" fmla="*/ 84296 h 619125"/>
                <a:gd name="connsiteX15" fmla="*/ 88678 w 781050"/>
                <a:gd name="connsiteY15" fmla="*/ 540544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050" h="619125">
                  <a:moveTo>
                    <a:pt x="742093" y="617696"/>
                  </a:moveTo>
                  <a:lnTo>
                    <a:pt x="44863" y="617696"/>
                  </a:lnTo>
                  <a:cubicBezTo>
                    <a:pt x="33433" y="617696"/>
                    <a:pt x="22955" y="612934"/>
                    <a:pt x="16288" y="604361"/>
                  </a:cubicBezTo>
                  <a:cubicBezTo>
                    <a:pt x="8668" y="595789"/>
                    <a:pt x="5810" y="584359"/>
                    <a:pt x="7715" y="572929"/>
                  </a:cubicBezTo>
                  <a:lnTo>
                    <a:pt x="88678" y="39529"/>
                  </a:lnTo>
                  <a:cubicBezTo>
                    <a:pt x="91535" y="20479"/>
                    <a:pt x="107728" y="7144"/>
                    <a:pt x="125825" y="7144"/>
                  </a:cubicBezTo>
                  <a:lnTo>
                    <a:pt x="653510" y="7144"/>
                  </a:lnTo>
                  <a:cubicBezTo>
                    <a:pt x="671608" y="7144"/>
                    <a:pt x="687800" y="20479"/>
                    <a:pt x="690658" y="39529"/>
                  </a:cubicBezTo>
                  <a:lnTo>
                    <a:pt x="779240" y="572929"/>
                  </a:lnTo>
                  <a:cubicBezTo>
                    <a:pt x="781145" y="584359"/>
                    <a:pt x="778288" y="595789"/>
                    <a:pt x="770668" y="604361"/>
                  </a:cubicBezTo>
                  <a:cubicBezTo>
                    <a:pt x="764000" y="611981"/>
                    <a:pt x="753523" y="617696"/>
                    <a:pt x="742093" y="617696"/>
                  </a:cubicBezTo>
                  <a:close/>
                  <a:moveTo>
                    <a:pt x="88678" y="540544"/>
                  </a:moveTo>
                  <a:lnTo>
                    <a:pt x="697325" y="540544"/>
                  </a:lnTo>
                  <a:lnTo>
                    <a:pt x="621125" y="84296"/>
                  </a:lnTo>
                  <a:lnTo>
                    <a:pt x="158210" y="84296"/>
                  </a:lnTo>
                  <a:lnTo>
                    <a:pt x="88678" y="540544"/>
                  </a:ln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6C17B760-E39E-4C04-B446-F7734C273CCE}"/>
                </a:ext>
              </a:extLst>
            </p:cNvPr>
            <p:cNvSpPr/>
            <p:nvPr/>
          </p:nvSpPr>
          <p:spPr>
            <a:xfrm>
              <a:off x="4682493" y="1040765"/>
              <a:ext cx="6934728" cy="3467364"/>
            </a:xfrm>
            <a:custGeom>
              <a:avLst/>
              <a:gdLst>
                <a:gd name="connsiteX0" fmla="*/ 7144 w 5429250"/>
                <a:gd name="connsiteY0" fmla="*/ 7144 h 2714625"/>
                <a:gd name="connsiteX1" fmla="*/ 5428774 w 5429250"/>
                <a:gd name="connsiteY1" fmla="*/ 7144 h 2714625"/>
                <a:gd name="connsiteX2" fmla="*/ 5428774 w 5429250"/>
                <a:gd name="connsiteY2" fmla="*/ 2712244 h 2714625"/>
                <a:gd name="connsiteX3" fmla="*/ 7144 w 5429250"/>
                <a:gd name="connsiteY3" fmla="*/ 2712244 h 271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9250" h="2714625">
                  <a:moveTo>
                    <a:pt x="7144" y="7144"/>
                  </a:moveTo>
                  <a:lnTo>
                    <a:pt x="5428774" y="7144"/>
                  </a:lnTo>
                  <a:lnTo>
                    <a:pt x="5428774" y="2712244"/>
                  </a:lnTo>
                  <a:lnTo>
                    <a:pt x="7144" y="2712244"/>
                  </a:ln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81D6558-1671-4D3D-AE8A-899E1229DFF2}"/>
                </a:ext>
              </a:extLst>
            </p:cNvPr>
            <p:cNvSpPr/>
            <p:nvPr/>
          </p:nvSpPr>
          <p:spPr>
            <a:xfrm>
              <a:off x="4531632" y="942217"/>
              <a:ext cx="7238883" cy="4519085"/>
            </a:xfrm>
            <a:custGeom>
              <a:avLst/>
              <a:gdLst>
                <a:gd name="connsiteX0" fmla="*/ 5546884 w 5667375"/>
                <a:gd name="connsiteY0" fmla="*/ 2866549 h 2867025"/>
                <a:gd name="connsiteX1" fmla="*/ 125254 w 5667375"/>
                <a:gd name="connsiteY1" fmla="*/ 2866549 h 2867025"/>
                <a:gd name="connsiteX2" fmla="*/ 7144 w 5667375"/>
                <a:gd name="connsiteY2" fmla="*/ 2789396 h 2867025"/>
                <a:gd name="connsiteX3" fmla="*/ 7144 w 5667375"/>
                <a:gd name="connsiteY3" fmla="*/ 84296 h 2867025"/>
                <a:gd name="connsiteX4" fmla="*/ 125254 w 5667375"/>
                <a:gd name="connsiteY4" fmla="*/ 7144 h 2867025"/>
                <a:gd name="connsiteX5" fmla="*/ 5547837 w 5667375"/>
                <a:gd name="connsiteY5" fmla="*/ 7144 h 2867025"/>
                <a:gd name="connsiteX6" fmla="*/ 5665946 w 5667375"/>
                <a:gd name="connsiteY6" fmla="*/ 84296 h 2867025"/>
                <a:gd name="connsiteX7" fmla="*/ 5665946 w 5667375"/>
                <a:gd name="connsiteY7" fmla="*/ 2789396 h 2867025"/>
                <a:gd name="connsiteX8" fmla="*/ 5546884 w 5667375"/>
                <a:gd name="connsiteY8" fmla="*/ 2866549 h 286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7375" h="2867025">
                  <a:moveTo>
                    <a:pt x="5546884" y="2866549"/>
                  </a:moveTo>
                  <a:lnTo>
                    <a:pt x="125254" y="2866549"/>
                  </a:lnTo>
                  <a:cubicBezTo>
                    <a:pt x="60484" y="2866549"/>
                    <a:pt x="7144" y="2832259"/>
                    <a:pt x="7144" y="2789396"/>
                  </a:cubicBezTo>
                  <a:lnTo>
                    <a:pt x="7144" y="84296"/>
                  </a:lnTo>
                  <a:cubicBezTo>
                    <a:pt x="7144" y="41434"/>
                    <a:pt x="59531" y="7144"/>
                    <a:pt x="125254" y="7144"/>
                  </a:cubicBezTo>
                  <a:lnTo>
                    <a:pt x="5547837" y="7144"/>
                  </a:lnTo>
                  <a:cubicBezTo>
                    <a:pt x="5612606" y="7144"/>
                    <a:pt x="5665946" y="41434"/>
                    <a:pt x="5665946" y="84296"/>
                  </a:cubicBezTo>
                  <a:lnTo>
                    <a:pt x="5665946" y="2789396"/>
                  </a:lnTo>
                  <a:cubicBezTo>
                    <a:pt x="5664994" y="2832259"/>
                    <a:pt x="5612606" y="2866549"/>
                    <a:pt x="5546884" y="2866549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0CD2537-EE2E-4CFC-B52D-6093CEE5106A}"/>
                </a:ext>
              </a:extLst>
            </p:cNvPr>
            <p:cNvSpPr/>
            <p:nvPr/>
          </p:nvSpPr>
          <p:spPr>
            <a:xfrm>
              <a:off x="7480716" y="5189436"/>
              <a:ext cx="1350447" cy="12166"/>
            </a:xfrm>
            <a:custGeom>
              <a:avLst/>
              <a:gdLst>
                <a:gd name="connsiteX0" fmla="*/ 7144 w 1057275"/>
                <a:gd name="connsiteY0" fmla="*/ 7144 h 9525"/>
                <a:gd name="connsiteX1" fmla="*/ 1054894 w 1057275"/>
                <a:gd name="connsiteY1" fmla="*/ 7144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7275" h="9525">
                  <a:moveTo>
                    <a:pt x="7144" y="7144"/>
                  </a:moveTo>
                  <a:lnTo>
                    <a:pt x="1054894" y="7144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7CDD983-751C-46E1-85BE-78BA89A81EBD}"/>
                </a:ext>
              </a:extLst>
            </p:cNvPr>
            <p:cNvSpPr/>
            <p:nvPr/>
          </p:nvSpPr>
          <p:spPr>
            <a:xfrm>
              <a:off x="7383387" y="6044063"/>
              <a:ext cx="1545106" cy="206825"/>
            </a:xfrm>
            <a:custGeom>
              <a:avLst/>
              <a:gdLst>
                <a:gd name="connsiteX0" fmla="*/ 1131094 w 1209675"/>
                <a:gd name="connsiteY0" fmla="*/ 161449 h 161925"/>
                <a:gd name="connsiteX1" fmla="*/ 83344 w 1209675"/>
                <a:gd name="connsiteY1" fmla="*/ 161449 h 161925"/>
                <a:gd name="connsiteX2" fmla="*/ 7144 w 1209675"/>
                <a:gd name="connsiteY2" fmla="*/ 84296 h 161925"/>
                <a:gd name="connsiteX3" fmla="*/ 83344 w 1209675"/>
                <a:gd name="connsiteY3" fmla="*/ 7144 h 161925"/>
                <a:gd name="connsiteX4" fmla="*/ 1131094 w 1209675"/>
                <a:gd name="connsiteY4" fmla="*/ 7144 h 161925"/>
                <a:gd name="connsiteX5" fmla="*/ 1207294 w 1209675"/>
                <a:gd name="connsiteY5" fmla="*/ 84296 h 161925"/>
                <a:gd name="connsiteX6" fmla="*/ 1131094 w 1209675"/>
                <a:gd name="connsiteY6" fmla="*/ 16144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9675" h="161925">
                  <a:moveTo>
                    <a:pt x="1131094" y="161449"/>
                  </a:moveTo>
                  <a:lnTo>
                    <a:pt x="83344" y="161449"/>
                  </a:lnTo>
                  <a:cubicBezTo>
                    <a:pt x="41434" y="161449"/>
                    <a:pt x="7144" y="127159"/>
                    <a:pt x="7144" y="84296"/>
                  </a:cubicBezTo>
                  <a:cubicBezTo>
                    <a:pt x="7144" y="41434"/>
                    <a:pt x="41434" y="7144"/>
                    <a:pt x="83344" y="7144"/>
                  </a:cubicBezTo>
                  <a:lnTo>
                    <a:pt x="1131094" y="7144"/>
                  </a:lnTo>
                  <a:cubicBezTo>
                    <a:pt x="1173004" y="7144"/>
                    <a:pt x="1207294" y="41434"/>
                    <a:pt x="1207294" y="84296"/>
                  </a:cubicBezTo>
                  <a:cubicBezTo>
                    <a:pt x="1206341" y="126206"/>
                    <a:pt x="1173004" y="161449"/>
                    <a:pt x="1131094" y="161449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FF21B45-8CD8-4119-A5D2-92124E737527}"/>
                </a:ext>
              </a:extLst>
            </p:cNvPr>
            <p:cNvSpPr/>
            <p:nvPr/>
          </p:nvSpPr>
          <p:spPr>
            <a:xfrm>
              <a:off x="4675273" y="1043948"/>
              <a:ext cx="6951600" cy="3909600"/>
            </a:xfrm>
            <a:custGeom>
              <a:avLst/>
              <a:gdLst>
                <a:gd name="connsiteX0" fmla="*/ 5487829 w 5553075"/>
                <a:gd name="connsiteY0" fmla="*/ 2249329 h 2247900"/>
                <a:gd name="connsiteX1" fmla="*/ 66199 w 5553075"/>
                <a:gd name="connsiteY1" fmla="*/ 2249329 h 2247900"/>
                <a:gd name="connsiteX2" fmla="*/ 7144 w 5553075"/>
                <a:gd name="connsiteY2" fmla="*/ 2210276 h 2247900"/>
                <a:gd name="connsiteX3" fmla="*/ 7144 w 5553075"/>
                <a:gd name="connsiteY3" fmla="*/ 46196 h 2247900"/>
                <a:gd name="connsiteX4" fmla="*/ 66199 w 5553075"/>
                <a:gd name="connsiteY4" fmla="*/ 7144 h 2247900"/>
                <a:gd name="connsiteX5" fmla="*/ 5488782 w 5553075"/>
                <a:gd name="connsiteY5" fmla="*/ 7144 h 2247900"/>
                <a:gd name="connsiteX6" fmla="*/ 5547837 w 5553075"/>
                <a:gd name="connsiteY6" fmla="*/ 46196 h 2247900"/>
                <a:gd name="connsiteX7" fmla="*/ 5547837 w 5553075"/>
                <a:gd name="connsiteY7" fmla="*/ 2210276 h 2247900"/>
                <a:gd name="connsiteX8" fmla="*/ 5487829 w 5553075"/>
                <a:gd name="connsiteY8" fmla="*/ 2249329 h 224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53075" h="2247900">
                  <a:moveTo>
                    <a:pt x="5487829" y="2249329"/>
                  </a:moveTo>
                  <a:lnTo>
                    <a:pt x="66199" y="2249329"/>
                  </a:lnTo>
                  <a:cubicBezTo>
                    <a:pt x="33814" y="2249329"/>
                    <a:pt x="7144" y="2232184"/>
                    <a:pt x="7144" y="2210276"/>
                  </a:cubicBezTo>
                  <a:lnTo>
                    <a:pt x="7144" y="46196"/>
                  </a:lnTo>
                  <a:cubicBezTo>
                    <a:pt x="7144" y="25241"/>
                    <a:pt x="33814" y="7144"/>
                    <a:pt x="66199" y="7144"/>
                  </a:cubicBezTo>
                  <a:lnTo>
                    <a:pt x="5488782" y="7144"/>
                  </a:lnTo>
                  <a:cubicBezTo>
                    <a:pt x="5521166" y="7144"/>
                    <a:pt x="5547837" y="24289"/>
                    <a:pt x="5547837" y="46196"/>
                  </a:cubicBezTo>
                  <a:lnTo>
                    <a:pt x="5547837" y="2210276"/>
                  </a:lnTo>
                  <a:cubicBezTo>
                    <a:pt x="5546884" y="2232184"/>
                    <a:pt x="5520214" y="2249329"/>
                    <a:pt x="5487829" y="22493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FFD2CBF0-155B-4BEE-95E5-655C58660793}"/>
                </a:ext>
              </a:extLst>
            </p:cNvPr>
            <p:cNvSpPr/>
            <p:nvPr/>
          </p:nvSpPr>
          <p:spPr>
            <a:xfrm>
              <a:off x="4636261" y="5107538"/>
              <a:ext cx="121662" cy="121662"/>
            </a:xfrm>
            <a:custGeom>
              <a:avLst/>
              <a:gdLst>
                <a:gd name="connsiteX0" fmla="*/ 94774 w 95250"/>
                <a:gd name="connsiteY0" fmla="*/ 51911 h 95250"/>
                <a:gd name="connsiteX1" fmla="*/ 50959 w 95250"/>
                <a:gd name="connsiteY1" fmla="*/ 96679 h 95250"/>
                <a:gd name="connsiteX2" fmla="*/ 7144 w 95250"/>
                <a:gd name="connsiteY2" fmla="*/ 51911 h 95250"/>
                <a:gd name="connsiteX3" fmla="*/ 50959 w 95250"/>
                <a:gd name="connsiteY3" fmla="*/ 7144 h 95250"/>
                <a:gd name="connsiteX4" fmla="*/ 94774 w 95250"/>
                <a:gd name="connsiteY4" fmla="*/ 51911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4774" y="51911"/>
                  </a:moveTo>
                  <a:cubicBezTo>
                    <a:pt x="94774" y="76676"/>
                    <a:pt x="75724" y="96679"/>
                    <a:pt x="50959" y="96679"/>
                  </a:cubicBezTo>
                  <a:cubicBezTo>
                    <a:pt x="27146" y="96679"/>
                    <a:pt x="7144" y="76676"/>
                    <a:pt x="7144" y="51911"/>
                  </a:cubicBezTo>
                  <a:cubicBezTo>
                    <a:pt x="7144" y="27146"/>
                    <a:pt x="26194" y="7144"/>
                    <a:pt x="50959" y="7144"/>
                  </a:cubicBezTo>
                  <a:cubicBezTo>
                    <a:pt x="74771" y="7144"/>
                    <a:pt x="94774" y="27146"/>
                    <a:pt x="94774" y="51911"/>
                  </a:cubicBezTo>
                  <a:close/>
                </a:path>
              </a:pathLst>
            </a:custGeom>
            <a:solidFill>
              <a:srgbClr val="A7A9A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5FAB8F5-4345-4AC4-9995-25F03745248B}"/>
                </a:ext>
              </a:extLst>
            </p:cNvPr>
            <p:cNvSpPr/>
            <p:nvPr/>
          </p:nvSpPr>
          <p:spPr>
            <a:xfrm>
              <a:off x="4830920" y="5103880"/>
              <a:ext cx="121662" cy="121662"/>
            </a:xfrm>
            <a:custGeom>
              <a:avLst/>
              <a:gdLst>
                <a:gd name="connsiteX0" fmla="*/ 94774 w 95250"/>
                <a:gd name="connsiteY0" fmla="*/ 51911 h 95250"/>
                <a:gd name="connsiteX1" fmla="*/ 50959 w 95250"/>
                <a:gd name="connsiteY1" fmla="*/ 96679 h 95250"/>
                <a:gd name="connsiteX2" fmla="*/ 7144 w 95250"/>
                <a:gd name="connsiteY2" fmla="*/ 51911 h 95250"/>
                <a:gd name="connsiteX3" fmla="*/ 50959 w 95250"/>
                <a:gd name="connsiteY3" fmla="*/ 7144 h 95250"/>
                <a:gd name="connsiteX4" fmla="*/ 94774 w 95250"/>
                <a:gd name="connsiteY4" fmla="*/ 51911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4774" y="51911"/>
                  </a:moveTo>
                  <a:cubicBezTo>
                    <a:pt x="94774" y="76676"/>
                    <a:pt x="75724" y="96679"/>
                    <a:pt x="50959" y="96679"/>
                  </a:cubicBezTo>
                  <a:cubicBezTo>
                    <a:pt x="26194" y="96679"/>
                    <a:pt x="7144" y="76676"/>
                    <a:pt x="7144" y="51911"/>
                  </a:cubicBezTo>
                  <a:cubicBezTo>
                    <a:pt x="7144" y="27146"/>
                    <a:pt x="26194" y="7144"/>
                    <a:pt x="50959" y="7144"/>
                  </a:cubicBezTo>
                  <a:cubicBezTo>
                    <a:pt x="75724" y="7144"/>
                    <a:pt x="94774" y="27146"/>
                    <a:pt x="94774" y="51911"/>
                  </a:cubicBezTo>
                  <a:close/>
                </a:path>
              </a:pathLst>
            </a:custGeom>
            <a:solidFill>
              <a:srgbClr val="FB5A1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l"/>
              <a:endParaRPr lang="en-GB"/>
            </a:p>
          </p:txBody>
        </p:sp>
      </p:grp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332490D2-5D6F-42A7-A1A5-B26419759151}"/>
              </a:ext>
            </a:extLst>
          </p:cNvPr>
          <p:cNvSpPr>
            <a:spLocks noGrp="1"/>
          </p:cNvSpPr>
          <p:nvPr userDrawn="1">
            <p:ph type="pic" sz="quarter" idx="12"/>
          </p:nvPr>
        </p:nvSpPr>
        <p:spPr bwMode="gray">
          <a:xfrm>
            <a:off x="4408375" y="2097328"/>
            <a:ext cx="11287351" cy="6273238"/>
          </a:xfrm>
          <a:solidFill>
            <a:schemeClr val="bg1"/>
          </a:solidFill>
        </p:spPr>
        <p:txBody>
          <a:bodyPr anchor="ctr"/>
          <a:lstStyle>
            <a:lvl1pPr algn="ctr">
              <a:defRPr sz="2638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4692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uter + video -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Screen Shapes">
            <a:extLst>
              <a:ext uri="{FF2B5EF4-FFF2-40B4-BE49-F238E27FC236}">
                <a16:creationId xmlns:a16="http://schemas.microsoft.com/office/drawing/2014/main" id="{F78CB947-AFFA-4B63-A0DA-9CCA28AB7BAE}"/>
              </a:ext>
            </a:extLst>
          </p:cNvPr>
          <p:cNvGrpSpPr/>
          <p:nvPr userDrawn="1"/>
        </p:nvGrpSpPr>
        <p:grpSpPr>
          <a:xfrm>
            <a:off x="4075231" y="1842573"/>
            <a:ext cx="11953639" cy="9057892"/>
            <a:chOff x="4531632" y="942217"/>
            <a:chExt cx="7249206" cy="5492714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D9813B11-5E0E-4523-9F7A-D38DAD8D14DC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562475" y="964406"/>
              <a:ext cx="7218363" cy="5470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B5A5E37-7093-4462-A21D-F4AE2FCE9CB8}"/>
                </a:ext>
              </a:extLst>
            </p:cNvPr>
            <p:cNvSpPr/>
            <p:nvPr/>
          </p:nvSpPr>
          <p:spPr>
            <a:xfrm>
              <a:off x="7699708" y="5461303"/>
              <a:ext cx="900298" cy="693473"/>
            </a:xfrm>
            <a:custGeom>
              <a:avLst/>
              <a:gdLst>
                <a:gd name="connsiteX0" fmla="*/ 704374 w 704850"/>
                <a:gd name="connsiteY0" fmla="*/ 540544 h 542925"/>
                <a:gd name="connsiteX1" fmla="*/ 615791 w 704850"/>
                <a:gd name="connsiteY1" fmla="*/ 7144 h 542925"/>
                <a:gd name="connsiteX2" fmla="*/ 88106 w 704850"/>
                <a:gd name="connsiteY2" fmla="*/ 7144 h 542925"/>
                <a:gd name="connsiteX3" fmla="*/ 7144 w 704850"/>
                <a:gd name="connsiteY3" fmla="*/ 540544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4850" h="542925">
                  <a:moveTo>
                    <a:pt x="704374" y="540544"/>
                  </a:moveTo>
                  <a:lnTo>
                    <a:pt x="615791" y="7144"/>
                  </a:lnTo>
                  <a:lnTo>
                    <a:pt x="88106" y="7144"/>
                  </a:lnTo>
                  <a:lnTo>
                    <a:pt x="7144" y="540544"/>
                  </a:ln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0ADC793-2A40-4957-9665-DBAE3874209F}"/>
                </a:ext>
              </a:extLst>
            </p:cNvPr>
            <p:cNvSpPr/>
            <p:nvPr/>
          </p:nvSpPr>
          <p:spPr>
            <a:xfrm>
              <a:off x="7651530" y="5412638"/>
              <a:ext cx="997628" cy="790802"/>
            </a:xfrm>
            <a:custGeom>
              <a:avLst/>
              <a:gdLst>
                <a:gd name="connsiteX0" fmla="*/ 742093 w 781050"/>
                <a:gd name="connsiteY0" fmla="*/ 617696 h 619125"/>
                <a:gd name="connsiteX1" fmla="*/ 44863 w 781050"/>
                <a:gd name="connsiteY1" fmla="*/ 617696 h 619125"/>
                <a:gd name="connsiteX2" fmla="*/ 16288 w 781050"/>
                <a:gd name="connsiteY2" fmla="*/ 604361 h 619125"/>
                <a:gd name="connsiteX3" fmla="*/ 7715 w 781050"/>
                <a:gd name="connsiteY3" fmla="*/ 572929 h 619125"/>
                <a:gd name="connsiteX4" fmla="*/ 88678 w 781050"/>
                <a:gd name="connsiteY4" fmla="*/ 39529 h 619125"/>
                <a:gd name="connsiteX5" fmla="*/ 125825 w 781050"/>
                <a:gd name="connsiteY5" fmla="*/ 7144 h 619125"/>
                <a:gd name="connsiteX6" fmla="*/ 653510 w 781050"/>
                <a:gd name="connsiteY6" fmla="*/ 7144 h 619125"/>
                <a:gd name="connsiteX7" fmla="*/ 690658 w 781050"/>
                <a:gd name="connsiteY7" fmla="*/ 39529 h 619125"/>
                <a:gd name="connsiteX8" fmla="*/ 779240 w 781050"/>
                <a:gd name="connsiteY8" fmla="*/ 572929 h 619125"/>
                <a:gd name="connsiteX9" fmla="*/ 770668 w 781050"/>
                <a:gd name="connsiteY9" fmla="*/ 604361 h 619125"/>
                <a:gd name="connsiteX10" fmla="*/ 742093 w 781050"/>
                <a:gd name="connsiteY10" fmla="*/ 617696 h 619125"/>
                <a:gd name="connsiteX11" fmla="*/ 88678 w 781050"/>
                <a:gd name="connsiteY11" fmla="*/ 540544 h 619125"/>
                <a:gd name="connsiteX12" fmla="*/ 697325 w 781050"/>
                <a:gd name="connsiteY12" fmla="*/ 540544 h 619125"/>
                <a:gd name="connsiteX13" fmla="*/ 621125 w 781050"/>
                <a:gd name="connsiteY13" fmla="*/ 84296 h 619125"/>
                <a:gd name="connsiteX14" fmla="*/ 158210 w 781050"/>
                <a:gd name="connsiteY14" fmla="*/ 84296 h 619125"/>
                <a:gd name="connsiteX15" fmla="*/ 88678 w 781050"/>
                <a:gd name="connsiteY15" fmla="*/ 540544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1050" h="619125">
                  <a:moveTo>
                    <a:pt x="742093" y="617696"/>
                  </a:moveTo>
                  <a:lnTo>
                    <a:pt x="44863" y="617696"/>
                  </a:lnTo>
                  <a:cubicBezTo>
                    <a:pt x="33433" y="617696"/>
                    <a:pt x="22955" y="612934"/>
                    <a:pt x="16288" y="604361"/>
                  </a:cubicBezTo>
                  <a:cubicBezTo>
                    <a:pt x="8668" y="595789"/>
                    <a:pt x="5810" y="584359"/>
                    <a:pt x="7715" y="572929"/>
                  </a:cubicBezTo>
                  <a:lnTo>
                    <a:pt x="88678" y="39529"/>
                  </a:lnTo>
                  <a:cubicBezTo>
                    <a:pt x="91535" y="20479"/>
                    <a:pt x="107728" y="7144"/>
                    <a:pt x="125825" y="7144"/>
                  </a:cubicBezTo>
                  <a:lnTo>
                    <a:pt x="653510" y="7144"/>
                  </a:lnTo>
                  <a:cubicBezTo>
                    <a:pt x="671608" y="7144"/>
                    <a:pt x="687800" y="20479"/>
                    <a:pt x="690658" y="39529"/>
                  </a:cubicBezTo>
                  <a:lnTo>
                    <a:pt x="779240" y="572929"/>
                  </a:lnTo>
                  <a:cubicBezTo>
                    <a:pt x="781145" y="584359"/>
                    <a:pt x="778288" y="595789"/>
                    <a:pt x="770668" y="604361"/>
                  </a:cubicBezTo>
                  <a:cubicBezTo>
                    <a:pt x="764000" y="611981"/>
                    <a:pt x="753523" y="617696"/>
                    <a:pt x="742093" y="617696"/>
                  </a:cubicBezTo>
                  <a:close/>
                  <a:moveTo>
                    <a:pt x="88678" y="540544"/>
                  </a:moveTo>
                  <a:lnTo>
                    <a:pt x="697325" y="540544"/>
                  </a:lnTo>
                  <a:lnTo>
                    <a:pt x="621125" y="84296"/>
                  </a:lnTo>
                  <a:lnTo>
                    <a:pt x="158210" y="84296"/>
                  </a:lnTo>
                  <a:lnTo>
                    <a:pt x="88678" y="540544"/>
                  </a:ln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C4664D7-C5DA-41C0-B022-0108540ED583}"/>
                </a:ext>
              </a:extLst>
            </p:cNvPr>
            <p:cNvSpPr/>
            <p:nvPr/>
          </p:nvSpPr>
          <p:spPr>
            <a:xfrm>
              <a:off x="4682493" y="1040765"/>
              <a:ext cx="6934728" cy="3467364"/>
            </a:xfrm>
            <a:custGeom>
              <a:avLst/>
              <a:gdLst>
                <a:gd name="connsiteX0" fmla="*/ 7144 w 5429250"/>
                <a:gd name="connsiteY0" fmla="*/ 7144 h 2714625"/>
                <a:gd name="connsiteX1" fmla="*/ 5428774 w 5429250"/>
                <a:gd name="connsiteY1" fmla="*/ 7144 h 2714625"/>
                <a:gd name="connsiteX2" fmla="*/ 5428774 w 5429250"/>
                <a:gd name="connsiteY2" fmla="*/ 2712244 h 2714625"/>
                <a:gd name="connsiteX3" fmla="*/ 7144 w 5429250"/>
                <a:gd name="connsiteY3" fmla="*/ 2712244 h 2714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9250" h="2714625">
                  <a:moveTo>
                    <a:pt x="7144" y="7144"/>
                  </a:moveTo>
                  <a:lnTo>
                    <a:pt x="5428774" y="7144"/>
                  </a:lnTo>
                  <a:lnTo>
                    <a:pt x="5428774" y="2712244"/>
                  </a:lnTo>
                  <a:lnTo>
                    <a:pt x="7144" y="2712244"/>
                  </a:ln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0147E95-B5A0-444C-A13F-A05A7B7747A6}"/>
                </a:ext>
              </a:extLst>
            </p:cNvPr>
            <p:cNvSpPr/>
            <p:nvPr/>
          </p:nvSpPr>
          <p:spPr>
            <a:xfrm>
              <a:off x="4531632" y="942217"/>
              <a:ext cx="7238883" cy="4519085"/>
            </a:xfrm>
            <a:custGeom>
              <a:avLst/>
              <a:gdLst>
                <a:gd name="connsiteX0" fmla="*/ 5546884 w 5667375"/>
                <a:gd name="connsiteY0" fmla="*/ 2866549 h 2867025"/>
                <a:gd name="connsiteX1" fmla="*/ 125254 w 5667375"/>
                <a:gd name="connsiteY1" fmla="*/ 2866549 h 2867025"/>
                <a:gd name="connsiteX2" fmla="*/ 7144 w 5667375"/>
                <a:gd name="connsiteY2" fmla="*/ 2789396 h 2867025"/>
                <a:gd name="connsiteX3" fmla="*/ 7144 w 5667375"/>
                <a:gd name="connsiteY3" fmla="*/ 84296 h 2867025"/>
                <a:gd name="connsiteX4" fmla="*/ 125254 w 5667375"/>
                <a:gd name="connsiteY4" fmla="*/ 7144 h 2867025"/>
                <a:gd name="connsiteX5" fmla="*/ 5547837 w 5667375"/>
                <a:gd name="connsiteY5" fmla="*/ 7144 h 2867025"/>
                <a:gd name="connsiteX6" fmla="*/ 5665946 w 5667375"/>
                <a:gd name="connsiteY6" fmla="*/ 84296 h 2867025"/>
                <a:gd name="connsiteX7" fmla="*/ 5665946 w 5667375"/>
                <a:gd name="connsiteY7" fmla="*/ 2789396 h 2867025"/>
                <a:gd name="connsiteX8" fmla="*/ 5546884 w 5667375"/>
                <a:gd name="connsiteY8" fmla="*/ 2866549 h 2867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7375" h="2867025">
                  <a:moveTo>
                    <a:pt x="5546884" y="2866549"/>
                  </a:moveTo>
                  <a:lnTo>
                    <a:pt x="125254" y="2866549"/>
                  </a:lnTo>
                  <a:cubicBezTo>
                    <a:pt x="60484" y="2866549"/>
                    <a:pt x="7144" y="2832259"/>
                    <a:pt x="7144" y="2789396"/>
                  </a:cubicBezTo>
                  <a:lnTo>
                    <a:pt x="7144" y="84296"/>
                  </a:lnTo>
                  <a:cubicBezTo>
                    <a:pt x="7144" y="41434"/>
                    <a:pt x="59531" y="7144"/>
                    <a:pt x="125254" y="7144"/>
                  </a:cubicBezTo>
                  <a:lnTo>
                    <a:pt x="5547837" y="7144"/>
                  </a:lnTo>
                  <a:cubicBezTo>
                    <a:pt x="5612606" y="7144"/>
                    <a:pt x="5665946" y="41434"/>
                    <a:pt x="5665946" y="84296"/>
                  </a:cubicBezTo>
                  <a:lnTo>
                    <a:pt x="5665946" y="2789396"/>
                  </a:lnTo>
                  <a:cubicBezTo>
                    <a:pt x="5664994" y="2832259"/>
                    <a:pt x="5612606" y="2866549"/>
                    <a:pt x="5546884" y="2866549"/>
                  </a:cubicBez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11DC2D7-D877-4138-B3A2-FCCD66BF6E4D}"/>
                </a:ext>
              </a:extLst>
            </p:cNvPr>
            <p:cNvSpPr/>
            <p:nvPr/>
          </p:nvSpPr>
          <p:spPr>
            <a:xfrm>
              <a:off x="7480716" y="5189436"/>
              <a:ext cx="1350447" cy="12166"/>
            </a:xfrm>
            <a:custGeom>
              <a:avLst/>
              <a:gdLst>
                <a:gd name="connsiteX0" fmla="*/ 7144 w 1057275"/>
                <a:gd name="connsiteY0" fmla="*/ 7144 h 9525"/>
                <a:gd name="connsiteX1" fmla="*/ 1054894 w 1057275"/>
                <a:gd name="connsiteY1" fmla="*/ 7144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7275" h="9525">
                  <a:moveTo>
                    <a:pt x="7144" y="7144"/>
                  </a:moveTo>
                  <a:lnTo>
                    <a:pt x="1054894" y="7144"/>
                  </a:lnTo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44DB8EB-DA72-43D7-A4B0-C2C7901E9239}"/>
                </a:ext>
              </a:extLst>
            </p:cNvPr>
            <p:cNvSpPr/>
            <p:nvPr/>
          </p:nvSpPr>
          <p:spPr>
            <a:xfrm>
              <a:off x="7383387" y="6044063"/>
              <a:ext cx="1545106" cy="206825"/>
            </a:xfrm>
            <a:custGeom>
              <a:avLst/>
              <a:gdLst>
                <a:gd name="connsiteX0" fmla="*/ 1131094 w 1209675"/>
                <a:gd name="connsiteY0" fmla="*/ 161449 h 161925"/>
                <a:gd name="connsiteX1" fmla="*/ 83344 w 1209675"/>
                <a:gd name="connsiteY1" fmla="*/ 161449 h 161925"/>
                <a:gd name="connsiteX2" fmla="*/ 7144 w 1209675"/>
                <a:gd name="connsiteY2" fmla="*/ 84296 h 161925"/>
                <a:gd name="connsiteX3" fmla="*/ 83344 w 1209675"/>
                <a:gd name="connsiteY3" fmla="*/ 7144 h 161925"/>
                <a:gd name="connsiteX4" fmla="*/ 1131094 w 1209675"/>
                <a:gd name="connsiteY4" fmla="*/ 7144 h 161925"/>
                <a:gd name="connsiteX5" fmla="*/ 1207294 w 1209675"/>
                <a:gd name="connsiteY5" fmla="*/ 84296 h 161925"/>
                <a:gd name="connsiteX6" fmla="*/ 1131094 w 1209675"/>
                <a:gd name="connsiteY6" fmla="*/ 16144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09675" h="161925">
                  <a:moveTo>
                    <a:pt x="1131094" y="161449"/>
                  </a:moveTo>
                  <a:lnTo>
                    <a:pt x="83344" y="161449"/>
                  </a:lnTo>
                  <a:cubicBezTo>
                    <a:pt x="41434" y="161449"/>
                    <a:pt x="7144" y="127159"/>
                    <a:pt x="7144" y="84296"/>
                  </a:cubicBezTo>
                  <a:cubicBezTo>
                    <a:pt x="7144" y="41434"/>
                    <a:pt x="41434" y="7144"/>
                    <a:pt x="83344" y="7144"/>
                  </a:cubicBezTo>
                  <a:lnTo>
                    <a:pt x="1131094" y="7144"/>
                  </a:lnTo>
                  <a:cubicBezTo>
                    <a:pt x="1173004" y="7144"/>
                    <a:pt x="1207294" y="41434"/>
                    <a:pt x="1207294" y="84296"/>
                  </a:cubicBezTo>
                  <a:cubicBezTo>
                    <a:pt x="1206341" y="126206"/>
                    <a:pt x="1173004" y="161449"/>
                    <a:pt x="1131094" y="161449"/>
                  </a:cubicBezTo>
                  <a:close/>
                </a:path>
              </a:pathLst>
            </a:custGeom>
            <a:solidFill>
              <a:srgbClr val="0031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CB9F3995-4128-4A2B-BFC2-94E4EEAE630C}"/>
                </a:ext>
              </a:extLst>
            </p:cNvPr>
            <p:cNvSpPr/>
            <p:nvPr/>
          </p:nvSpPr>
          <p:spPr>
            <a:xfrm>
              <a:off x="4675273" y="1043948"/>
              <a:ext cx="6951600" cy="3909600"/>
            </a:xfrm>
            <a:custGeom>
              <a:avLst/>
              <a:gdLst>
                <a:gd name="connsiteX0" fmla="*/ 5487829 w 5553075"/>
                <a:gd name="connsiteY0" fmla="*/ 2249329 h 2247900"/>
                <a:gd name="connsiteX1" fmla="*/ 66199 w 5553075"/>
                <a:gd name="connsiteY1" fmla="*/ 2249329 h 2247900"/>
                <a:gd name="connsiteX2" fmla="*/ 7144 w 5553075"/>
                <a:gd name="connsiteY2" fmla="*/ 2210276 h 2247900"/>
                <a:gd name="connsiteX3" fmla="*/ 7144 w 5553075"/>
                <a:gd name="connsiteY3" fmla="*/ 46196 h 2247900"/>
                <a:gd name="connsiteX4" fmla="*/ 66199 w 5553075"/>
                <a:gd name="connsiteY4" fmla="*/ 7144 h 2247900"/>
                <a:gd name="connsiteX5" fmla="*/ 5488782 w 5553075"/>
                <a:gd name="connsiteY5" fmla="*/ 7144 h 2247900"/>
                <a:gd name="connsiteX6" fmla="*/ 5547837 w 5553075"/>
                <a:gd name="connsiteY6" fmla="*/ 46196 h 2247900"/>
                <a:gd name="connsiteX7" fmla="*/ 5547837 w 5553075"/>
                <a:gd name="connsiteY7" fmla="*/ 2210276 h 2247900"/>
                <a:gd name="connsiteX8" fmla="*/ 5487829 w 5553075"/>
                <a:gd name="connsiteY8" fmla="*/ 2249329 h 2247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53075" h="2247900">
                  <a:moveTo>
                    <a:pt x="5487829" y="2249329"/>
                  </a:moveTo>
                  <a:lnTo>
                    <a:pt x="66199" y="2249329"/>
                  </a:lnTo>
                  <a:cubicBezTo>
                    <a:pt x="33814" y="2249329"/>
                    <a:pt x="7144" y="2232184"/>
                    <a:pt x="7144" y="2210276"/>
                  </a:cubicBezTo>
                  <a:lnTo>
                    <a:pt x="7144" y="46196"/>
                  </a:lnTo>
                  <a:cubicBezTo>
                    <a:pt x="7144" y="25241"/>
                    <a:pt x="33814" y="7144"/>
                    <a:pt x="66199" y="7144"/>
                  </a:cubicBezTo>
                  <a:lnTo>
                    <a:pt x="5488782" y="7144"/>
                  </a:lnTo>
                  <a:cubicBezTo>
                    <a:pt x="5521166" y="7144"/>
                    <a:pt x="5547837" y="24289"/>
                    <a:pt x="5547837" y="46196"/>
                  </a:cubicBezTo>
                  <a:lnTo>
                    <a:pt x="5547837" y="2210276"/>
                  </a:lnTo>
                  <a:cubicBezTo>
                    <a:pt x="5546884" y="2232184"/>
                    <a:pt x="5520214" y="2249329"/>
                    <a:pt x="5487829" y="22493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CD84F27-E30F-4280-890B-7AF772A82356}"/>
                </a:ext>
              </a:extLst>
            </p:cNvPr>
            <p:cNvSpPr/>
            <p:nvPr/>
          </p:nvSpPr>
          <p:spPr>
            <a:xfrm>
              <a:off x="4636261" y="5107538"/>
              <a:ext cx="121662" cy="121662"/>
            </a:xfrm>
            <a:custGeom>
              <a:avLst/>
              <a:gdLst>
                <a:gd name="connsiteX0" fmla="*/ 94774 w 95250"/>
                <a:gd name="connsiteY0" fmla="*/ 51911 h 95250"/>
                <a:gd name="connsiteX1" fmla="*/ 50959 w 95250"/>
                <a:gd name="connsiteY1" fmla="*/ 96679 h 95250"/>
                <a:gd name="connsiteX2" fmla="*/ 7144 w 95250"/>
                <a:gd name="connsiteY2" fmla="*/ 51911 h 95250"/>
                <a:gd name="connsiteX3" fmla="*/ 50959 w 95250"/>
                <a:gd name="connsiteY3" fmla="*/ 7144 h 95250"/>
                <a:gd name="connsiteX4" fmla="*/ 94774 w 95250"/>
                <a:gd name="connsiteY4" fmla="*/ 51911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4774" y="51911"/>
                  </a:moveTo>
                  <a:cubicBezTo>
                    <a:pt x="94774" y="76676"/>
                    <a:pt x="75724" y="96679"/>
                    <a:pt x="50959" y="96679"/>
                  </a:cubicBezTo>
                  <a:cubicBezTo>
                    <a:pt x="27146" y="96679"/>
                    <a:pt x="7144" y="76676"/>
                    <a:pt x="7144" y="51911"/>
                  </a:cubicBezTo>
                  <a:cubicBezTo>
                    <a:pt x="7144" y="27146"/>
                    <a:pt x="26194" y="7144"/>
                    <a:pt x="50959" y="7144"/>
                  </a:cubicBezTo>
                  <a:cubicBezTo>
                    <a:pt x="74771" y="7144"/>
                    <a:pt x="94774" y="27146"/>
                    <a:pt x="94774" y="51911"/>
                  </a:cubicBezTo>
                  <a:close/>
                </a:path>
              </a:pathLst>
            </a:custGeom>
            <a:solidFill>
              <a:srgbClr val="A7A9A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86A168EA-95B0-446F-857A-E3FA35E7D733}"/>
                </a:ext>
              </a:extLst>
            </p:cNvPr>
            <p:cNvSpPr/>
            <p:nvPr/>
          </p:nvSpPr>
          <p:spPr>
            <a:xfrm>
              <a:off x="4830920" y="5103880"/>
              <a:ext cx="121662" cy="121662"/>
            </a:xfrm>
            <a:custGeom>
              <a:avLst/>
              <a:gdLst>
                <a:gd name="connsiteX0" fmla="*/ 94774 w 95250"/>
                <a:gd name="connsiteY0" fmla="*/ 51911 h 95250"/>
                <a:gd name="connsiteX1" fmla="*/ 50959 w 95250"/>
                <a:gd name="connsiteY1" fmla="*/ 96679 h 95250"/>
                <a:gd name="connsiteX2" fmla="*/ 7144 w 95250"/>
                <a:gd name="connsiteY2" fmla="*/ 51911 h 95250"/>
                <a:gd name="connsiteX3" fmla="*/ 50959 w 95250"/>
                <a:gd name="connsiteY3" fmla="*/ 7144 h 95250"/>
                <a:gd name="connsiteX4" fmla="*/ 94774 w 95250"/>
                <a:gd name="connsiteY4" fmla="*/ 51911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4774" y="51911"/>
                  </a:moveTo>
                  <a:cubicBezTo>
                    <a:pt x="94774" y="76676"/>
                    <a:pt x="75724" y="96679"/>
                    <a:pt x="50959" y="96679"/>
                  </a:cubicBezTo>
                  <a:cubicBezTo>
                    <a:pt x="26194" y="96679"/>
                    <a:pt x="7144" y="76676"/>
                    <a:pt x="7144" y="51911"/>
                  </a:cubicBezTo>
                  <a:cubicBezTo>
                    <a:pt x="7144" y="27146"/>
                    <a:pt x="26194" y="7144"/>
                    <a:pt x="50959" y="7144"/>
                  </a:cubicBezTo>
                  <a:cubicBezTo>
                    <a:pt x="75724" y="7144"/>
                    <a:pt x="94774" y="27146"/>
                    <a:pt x="94774" y="51911"/>
                  </a:cubicBezTo>
                  <a:close/>
                </a:path>
              </a:pathLst>
            </a:custGeom>
            <a:solidFill>
              <a:srgbClr val="FB5A1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42" name="Video Placeholder">
            <a:extLst>
              <a:ext uri="{FF2B5EF4-FFF2-40B4-BE49-F238E27FC236}">
                <a16:creationId xmlns:a16="http://schemas.microsoft.com/office/drawing/2014/main" id="{F3FFC23C-09CB-4BAF-BBBD-BD49AA9C9ABA}"/>
              </a:ext>
            </a:extLst>
          </p:cNvPr>
          <p:cNvSpPr>
            <a:spLocks noGrp="1"/>
          </p:cNvSpPr>
          <p:nvPr>
            <p:ph type="media" sz="quarter" idx="13"/>
            <p:custDataLst>
              <p:tags r:id="rId1"/>
            </p:custDataLst>
          </p:nvPr>
        </p:nvSpPr>
        <p:spPr bwMode="gray">
          <a:xfrm>
            <a:off x="4396702" y="2187378"/>
            <a:ext cx="11310697" cy="6125548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medi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6135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board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Screen Shapes">
            <a:extLst>
              <a:ext uri="{FF2B5EF4-FFF2-40B4-BE49-F238E27FC236}">
                <a16:creationId xmlns:a16="http://schemas.microsoft.com/office/drawing/2014/main" id="{6A471B69-7F83-4F22-AAB8-A5D9F7493AA2}"/>
              </a:ext>
            </a:extLst>
          </p:cNvPr>
          <p:cNvGrpSpPr/>
          <p:nvPr userDrawn="1"/>
        </p:nvGrpSpPr>
        <p:grpSpPr>
          <a:xfrm>
            <a:off x="7557735" y="2567266"/>
            <a:ext cx="11892258" cy="8046985"/>
            <a:chOff x="4583339" y="1556792"/>
            <a:chExt cx="7211982" cy="4879699"/>
          </a:xfrm>
        </p:grpSpPr>
        <p:sp>
          <p:nvSpPr>
            <p:cNvPr id="11" name="Screen Shape">
              <a:extLst>
                <a:ext uri="{FF2B5EF4-FFF2-40B4-BE49-F238E27FC236}">
                  <a16:creationId xmlns:a16="http://schemas.microsoft.com/office/drawing/2014/main" id="{6FACE3AF-714C-48AE-9492-71A97B7090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83339" y="1556792"/>
              <a:ext cx="7211982" cy="419025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Screen Leg L">
              <a:extLst>
                <a:ext uri="{FF2B5EF4-FFF2-40B4-BE49-F238E27FC236}">
                  <a16:creationId xmlns:a16="http://schemas.microsoft.com/office/drawing/2014/main" id="{ED0278E6-D5A7-4F82-89CD-0DE6F8EB7F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63481" y="6157891"/>
              <a:ext cx="277471" cy="2785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Rectangle 41">
              <a:extLst>
                <a:ext uri="{FF2B5EF4-FFF2-40B4-BE49-F238E27FC236}">
                  <a16:creationId xmlns:a16="http://schemas.microsoft.com/office/drawing/2014/main" id="{5F130D6E-7BD1-49CA-A4D3-CC87A06AA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63481" y="5747051"/>
              <a:ext cx="277471" cy="6894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43">
              <a:extLst>
                <a:ext uri="{FF2B5EF4-FFF2-40B4-BE49-F238E27FC236}">
                  <a16:creationId xmlns:a16="http://schemas.microsoft.com/office/drawing/2014/main" id="{97111A34-713D-48EA-B249-C8DF16976F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89237" y="5747051"/>
              <a:ext cx="277471" cy="6894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Screen Leg R">
              <a:extLst>
                <a:ext uri="{FF2B5EF4-FFF2-40B4-BE49-F238E27FC236}">
                  <a16:creationId xmlns:a16="http://schemas.microsoft.com/office/drawing/2014/main" id="{B5CCE92B-6AB7-414D-985A-C153F6AF6E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9237" y="6157891"/>
              <a:ext cx="277471" cy="278599"/>
            </a:xfrm>
            <a:custGeom>
              <a:avLst/>
              <a:gdLst>
                <a:gd name="T0" fmla="*/ 0 w 246"/>
                <a:gd name="T1" fmla="*/ 247 h 247"/>
                <a:gd name="T2" fmla="*/ 0 w 246"/>
                <a:gd name="T3" fmla="*/ 0 h 247"/>
                <a:gd name="T4" fmla="*/ 246 w 246"/>
                <a:gd name="T5" fmla="*/ 0 h 247"/>
                <a:gd name="T6" fmla="*/ 246 w 246"/>
                <a:gd name="T7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6" h="247">
                  <a:moveTo>
                    <a:pt x="0" y="247"/>
                  </a:moveTo>
                  <a:lnTo>
                    <a:pt x="0" y="0"/>
                  </a:lnTo>
                  <a:lnTo>
                    <a:pt x="246" y="0"/>
                  </a:lnTo>
                  <a:lnTo>
                    <a:pt x="246" y="2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6" name="Screen Caption">
            <a:extLst>
              <a:ext uri="{FF2B5EF4-FFF2-40B4-BE49-F238E27FC236}">
                <a16:creationId xmlns:a16="http://schemas.microsoft.com/office/drawing/2014/main" id="{754214C0-4B65-4DC4-8988-21A937E18ABD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9891408" y="8240876"/>
            <a:ext cx="7224911" cy="916267"/>
          </a:xfr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>
            <a:extLst>
              <a:ext uri="{FF2B5EF4-FFF2-40B4-BE49-F238E27FC236}">
                <a16:creationId xmlns:a16="http://schemas.microsoft.com/office/drawing/2014/main" id="{6BF5AA0E-B1D1-4294-8099-EABC0AE3B54D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8121479" y="3169272"/>
            <a:ext cx="10685540" cy="4862940"/>
          </a:xfrm>
          <a:solidFill>
            <a:schemeClr val="bg1"/>
          </a:solidFill>
        </p:spPr>
        <p:txBody>
          <a:bodyPr anchor="ctr"/>
          <a:lstStyle>
            <a:lvl1pPr algn="ctr">
              <a:defRPr sz="2638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Text">
            <a:extLst>
              <a:ext uri="{FF2B5EF4-FFF2-40B4-BE49-F238E27FC236}">
                <a16:creationId xmlns:a16="http://schemas.microsoft.com/office/drawing/2014/main" id="{655357FA-C2B7-41A4-8241-0CBE492E6021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725109" y="1055017"/>
            <a:ext cx="6389859" cy="9270375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116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board +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Screen Shapes">
            <a:extLst>
              <a:ext uri="{FF2B5EF4-FFF2-40B4-BE49-F238E27FC236}">
                <a16:creationId xmlns:a16="http://schemas.microsoft.com/office/drawing/2014/main" id="{427A01B1-6482-45FF-A466-13444FB0063D}"/>
              </a:ext>
            </a:extLst>
          </p:cNvPr>
          <p:cNvGrpSpPr/>
          <p:nvPr userDrawn="1"/>
        </p:nvGrpSpPr>
        <p:grpSpPr>
          <a:xfrm>
            <a:off x="7557735" y="2567266"/>
            <a:ext cx="11892258" cy="8046985"/>
            <a:chOff x="4583339" y="1556792"/>
            <a:chExt cx="7211982" cy="4879699"/>
          </a:xfrm>
        </p:grpSpPr>
        <p:sp>
          <p:nvSpPr>
            <p:cNvPr id="9" name="Rectangle 5">
              <a:extLst>
                <a:ext uri="{FF2B5EF4-FFF2-40B4-BE49-F238E27FC236}">
                  <a16:creationId xmlns:a16="http://schemas.microsoft.com/office/drawing/2014/main" id="{750CE80A-CC45-4F99-AEBD-909A363656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83339" y="1556792"/>
              <a:ext cx="7211982" cy="419025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41">
              <a:extLst>
                <a:ext uri="{FF2B5EF4-FFF2-40B4-BE49-F238E27FC236}">
                  <a16:creationId xmlns:a16="http://schemas.microsoft.com/office/drawing/2014/main" id="{B08F1A0D-3D51-43C1-9510-6CC87D7E5F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63481" y="5747051"/>
              <a:ext cx="277471" cy="6894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Rectangle 43">
              <a:extLst>
                <a:ext uri="{FF2B5EF4-FFF2-40B4-BE49-F238E27FC236}">
                  <a16:creationId xmlns:a16="http://schemas.microsoft.com/office/drawing/2014/main" id="{EB347EF4-A441-436A-AEF0-A61BEC6B3E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89237" y="5747051"/>
              <a:ext cx="277471" cy="6894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6" name="Screen Caption">
            <a:extLst>
              <a:ext uri="{FF2B5EF4-FFF2-40B4-BE49-F238E27FC236}">
                <a16:creationId xmlns:a16="http://schemas.microsoft.com/office/drawing/2014/main" id="{A49CE9B8-A8E3-4C44-8F6A-90071C0C90E3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9891408" y="8240876"/>
            <a:ext cx="7224911" cy="916267"/>
          </a:xfr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">
            <a:extLst>
              <a:ext uri="{FF2B5EF4-FFF2-40B4-BE49-F238E27FC236}">
                <a16:creationId xmlns:a16="http://schemas.microsoft.com/office/drawing/2014/main" id="{655357FA-C2B7-41A4-8241-0CBE492E6021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725109" y="1055017"/>
            <a:ext cx="6389859" cy="9270375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2" name="Video Placeholder">
            <a:extLst>
              <a:ext uri="{FF2B5EF4-FFF2-40B4-BE49-F238E27FC236}">
                <a16:creationId xmlns:a16="http://schemas.microsoft.com/office/drawing/2014/main" id="{9B201B49-980A-4CAF-A38E-ABC66A20116A}"/>
              </a:ext>
            </a:extLst>
          </p:cNvPr>
          <p:cNvSpPr>
            <a:spLocks noGrp="1"/>
          </p:cNvSpPr>
          <p:nvPr userDrawn="1">
            <p:ph type="media" sz="quarter" idx="13"/>
            <p:custDataLst>
              <p:tags r:id="rId1"/>
            </p:custDataLst>
          </p:nvPr>
        </p:nvSpPr>
        <p:spPr>
          <a:xfrm>
            <a:off x="8121482" y="3161651"/>
            <a:ext cx="10685539" cy="4862941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medi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8483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board + image -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Screen Shapes">
            <a:extLst>
              <a:ext uri="{FF2B5EF4-FFF2-40B4-BE49-F238E27FC236}">
                <a16:creationId xmlns:a16="http://schemas.microsoft.com/office/drawing/2014/main" id="{6A471B69-7F83-4F22-AAB8-A5D9F7493AA2}"/>
              </a:ext>
            </a:extLst>
          </p:cNvPr>
          <p:cNvGrpSpPr/>
          <p:nvPr userDrawn="1"/>
        </p:nvGrpSpPr>
        <p:grpSpPr>
          <a:xfrm>
            <a:off x="4105921" y="2567266"/>
            <a:ext cx="11892258" cy="8046985"/>
            <a:chOff x="4583339" y="1556792"/>
            <a:chExt cx="7211982" cy="4879699"/>
          </a:xfrm>
        </p:grpSpPr>
        <p:sp>
          <p:nvSpPr>
            <p:cNvPr id="11" name="Screen Shape">
              <a:extLst>
                <a:ext uri="{FF2B5EF4-FFF2-40B4-BE49-F238E27FC236}">
                  <a16:creationId xmlns:a16="http://schemas.microsoft.com/office/drawing/2014/main" id="{6FACE3AF-714C-48AE-9492-71A97B7090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83339" y="1556792"/>
              <a:ext cx="7211982" cy="419025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Screen Leg L">
              <a:extLst>
                <a:ext uri="{FF2B5EF4-FFF2-40B4-BE49-F238E27FC236}">
                  <a16:creationId xmlns:a16="http://schemas.microsoft.com/office/drawing/2014/main" id="{ED0278E6-D5A7-4F82-89CD-0DE6F8EB7FD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63481" y="6157891"/>
              <a:ext cx="277471" cy="2785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Rectangle 41">
              <a:extLst>
                <a:ext uri="{FF2B5EF4-FFF2-40B4-BE49-F238E27FC236}">
                  <a16:creationId xmlns:a16="http://schemas.microsoft.com/office/drawing/2014/main" id="{5F130D6E-7BD1-49CA-A4D3-CC87A06AA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63481" y="5747051"/>
              <a:ext cx="277471" cy="6894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43">
              <a:extLst>
                <a:ext uri="{FF2B5EF4-FFF2-40B4-BE49-F238E27FC236}">
                  <a16:creationId xmlns:a16="http://schemas.microsoft.com/office/drawing/2014/main" id="{97111A34-713D-48EA-B249-C8DF16976F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89237" y="5747051"/>
              <a:ext cx="277471" cy="6894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Screen Leg R">
              <a:extLst>
                <a:ext uri="{FF2B5EF4-FFF2-40B4-BE49-F238E27FC236}">
                  <a16:creationId xmlns:a16="http://schemas.microsoft.com/office/drawing/2014/main" id="{B5CCE92B-6AB7-414D-985A-C153F6AF6E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89237" y="6157891"/>
              <a:ext cx="277471" cy="278599"/>
            </a:xfrm>
            <a:custGeom>
              <a:avLst/>
              <a:gdLst>
                <a:gd name="T0" fmla="*/ 0 w 246"/>
                <a:gd name="T1" fmla="*/ 247 h 247"/>
                <a:gd name="T2" fmla="*/ 0 w 246"/>
                <a:gd name="T3" fmla="*/ 0 h 247"/>
                <a:gd name="T4" fmla="*/ 246 w 246"/>
                <a:gd name="T5" fmla="*/ 0 h 247"/>
                <a:gd name="T6" fmla="*/ 246 w 246"/>
                <a:gd name="T7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6" h="247">
                  <a:moveTo>
                    <a:pt x="0" y="247"/>
                  </a:moveTo>
                  <a:lnTo>
                    <a:pt x="0" y="0"/>
                  </a:lnTo>
                  <a:lnTo>
                    <a:pt x="246" y="0"/>
                  </a:lnTo>
                  <a:lnTo>
                    <a:pt x="246" y="24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6" name="Screen Caption">
            <a:extLst>
              <a:ext uri="{FF2B5EF4-FFF2-40B4-BE49-F238E27FC236}">
                <a16:creationId xmlns:a16="http://schemas.microsoft.com/office/drawing/2014/main" id="{754214C0-4B65-4DC4-8988-21A937E18ABD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6439595" y="8240876"/>
            <a:ext cx="7224911" cy="916267"/>
          </a:xfr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Picture Placeholder">
            <a:extLst>
              <a:ext uri="{FF2B5EF4-FFF2-40B4-BE49-F238E27FC236}">
                <a16:creationId xmlns:a16="http://schemas.microsoft.com/office/drawing/2014/main" id="{6BF5AA0E-B1D1-4294-8099-EABC0AE3B54D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4709280" y="3169272"/>
            <a:ext cx="10685540" cy="4862940"/>
          </a:xfrm>
          <a:solidFill>
            <a:schemeClr val="bg1"/>
          </a:solidFill>
        </p:spPr>
        <p:txBody>
          <a:bodyPr anchor="ctr"/>
          <a:lstStyle>
            <a:lvl1pPr algn="ctr">
              <a:defRPr sz="2638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B4FEDF4F-1455-4E93-8537-1F60F0D4A9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4701" y="1058996"/>
            <a:ext cx="18644300" cy="71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3562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board + video - 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Screen Shapes">
            <a:extLst>
              <a:ext uri="{FF2B5EF4-FFF2-40B4-BE49-F238E27FC236}">
                <a16:creationId xmlns:a16="http://schemas.microsoft.com/office/drawing/2014/main" id="{427A01B1-6482-45FF-A466-13444FB0063D}"/>
              </a:ext>
            </a:extLst>
          </p:cNvPr>
          <p:cNvGrpSpPr/>
          <p:nvPr userDrawn="1"/>
        </p:nvGrpSpPr>
        <p:grpSpPr>
          <a:xfrm>
            <a:off x="4105921" y="2567266"/>
            <a:ext cx="11892258" cy="8046985"/>
            <a:chOff x="4583339" y="1556792"/>
            <a:chExt cx="7211982" cy="4879699"/>
          </a:xfrm>
        </p:grpSpPr>
        <p:sp>
          <p:nvSpPr>
            <p:cNvPr id="9" name="Rectangle 5">
              <a:extLst>
                <a:ext uri="{FF2B5EF4-FFF2-40B4-BE49-F238E27FC236}">
                  <a16:creationId xmlns:a16="http://schemas.microsoft.com/office/drawing/2014/main" id="{750CE80A-CC45-4F99-AEBD-909A363656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83339" y="1556792"/>
              <a:ext cx="7211982" cy="419025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Rectangle 41">
              <a:extLst>
                <a:ext uri="{FF2B5EF4-FFF2-40B4-BE49-F238E27FC236}">
                  <a16:creationId xmlns:a16="http://schemas.microsoft.com/office/drawing/2014/main" id="{B08F1A0D-3D51-43C1-9510-6CC87D7E5F3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63481" y="5747051"/>
              <a:ext cx="277471" cy="6894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Rectangle 43">
              <a:extLst>
                <a:ext uri="{FF2B5EF4-FFF2-40B4-BE49-F238E27FC236}">
                  <a16:creationId xmlns:a16="http://schemas.microsoft.com/office/drawing/2014/main" id="{EB347EF4-A441-436A-AEF0-A61BEC6B3EC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1089237" y="5747051"/>
              <a:ext cx="277471" cy="68944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6" name="Screen Caption">
            <a:extLst>
              <a:ext uri="{FF2B5EF4-FFF2-40B4-BE49-F238E27FC236}">
                <a16:creationId xmlns:a16="http://schemas.microsoft.com/office/drawing/2014/main" id="{A49CE9B8-A8E3-4C44-8F6A-90071C0C90E3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6439595" y="8240876"/>
            <a:ext cx="7224911" cy="916267"/>
          </a:xfrm>
          <a:solidFill>
            <a:schemeClr val="bg1"/>
          </a:solidFill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2" name="Video Placeholder">
            <a:extLst>
              <a:ext uri="{FF2B5EF4-FFF2-40B4-BE49-F238E27FC236}">
                <a16:creationId xmlns:a16="http://schemas.microsoft.com/office/drawing/2014/main" id="{9B201B49-980A-4CAF-A38E-ABC66A20116A}"/>
              </a:ext>
            </a:extLst>
          </p:cNvPr>
          <p:cNvSpPr>
            <a:spLocks noGrp="1"/>
          </p:cNvSpPr>
          <p:nvPr userDrawn="1">
            <p:ph type="media" sz="quarter" idx="13"/>
            <p:custDataLst>
              <p:tags r:id="rId1"/>
            </p:custDataLst>
          </p:nvPr>
        </p:nvSpPr>
        <p:spPr>
          <a:xfrm>
            <a:off x="4709282" y="3161651"/>
            <a:ext cx="10685539" cy="4862941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media</a:t>
            </a:r>
            <a:endParaRPr lang="en-GB"/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B4FEDF4F-1455-4E93-8537-1F60F0D4A9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4701" y="1058996"/>
            <a:ext cx="18644300" cy="7105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941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tch +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">
            <a:extLst>
              <a:ext uri="{FF2B5EF4-FFF2-40B4-BE49-F238E27FC236}">
                <a16:creationId xmlns:a16="http://schemas.microsoft.com/office/drawing/2014/main" id="{655357FA-C2B7-41A4-8241-0CBE492E6021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725109" y="1055017"/>
            <a:ext cx="6389859" cy="9270375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3" name="Watch Shapes">
            <a:extLst>
              <a:ext uri="{FF2B5EF4-FFF2-40B4-BE49-F238E27FC236}">
                <a16:creationId xmlns:a16="http://schemas.microsoft.com/office/drawing/2014/main" id="{3167D560-0F66-4F3E-8481-D7EF374FEE21}"/>
              </a:ext>
            </a:extLst>
          </p:cNvPr>
          <p:cNvGrpSpPr/>
          <p:nvPr userDrawn="1"/>
        </p:nvGrpSpPr>
        <p:grpSpPr>
          <a:xfrm>
            <a:off x="11085959" y="1055017"/>
            <a:ext cx="4784263" cy="9521747"/>
            <a:chOff x="6831020" y="939125"/>
            <a:chExt cx="2668572" cy="5310679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02A3A80-1488-4DB1-8413-48849916B637}"/>
                </a:ext>
              </a:extLst>
            </p:cNvPr>
            <p:cNvSpPr/>
            <p:nvPr/>
          </p:nvSpPr>
          <p:spPr>
            <a:xfrm>
              <a:off x="6831020" y="2178577"/>
              <a:ext cx="2668572" cy="2833979"/>
            </a:xfrm>
            <a:custGeom>
              <a:avLst/>
              <a:gdLst>
                <a:gd name="connsiteX0" fmla="*/ 2194084 w 2305050"/>
                <a:gd name="connsiteY0" fmla="*/ 984409 h 2447925"/>
                <a:gd name="connsiteX1" fmla="*/ 2161699 w 2305050"/>
                <a:gd name="connsiteY1" fmla="*/ 984409 h 2447925"/>
                <a:gd name="connsiteX2" fmla="*/ 2161699 w 2305050"/>
                <a:gd name="connsiteY2" fmla="*/ 501491 h 2447925"/>
                <a:gd name="connsiteX3" fmla="*/ 1637824 w 2305050"/>
                <a:gd name="connsiteY3" fmla="*/ 7144 h 2447925"/>
                <a:gd name="connsiteX4" fmla="*/ 531019 w 2305050"/>
                <a:gd name="connsiteY4" fmla="*/ 7144 h 2447925"/>
                <a:gd name="connsiteX5" fmla="*/ 7144 w 2305050"/>
                <a:gd name="connsiteY5" fmla="*/ 501491 h 2447925"/>
                <a:gd name="connsiteX6" fmla="*/ 7144 w 2305050"/>
                <a:gd name="connsiteY6" fmla="*/ 1951196 h 2447925"/>
                <a:gd name="connsiteX7" fmla="*/ 531019 w 2305050"/>
                <a:gd name="connsiteY7" fmla="*/ 2445544 h 2447925"/>
                <a:gd name="connsiteX8" fmla="*/ 1637824 w 2305050"/>
                <a:gd name="connsiteY8" fmla="*/ 2445544 h 2447925"/>
                <a:gd name="connsiteX9" fmla="*/ 2161699 w 2305050"/>
                <a:gd name="connsiteY9" fmla="*/ 1951196 h 2447925"/>
                <a:gd name="connsiteX10" fmla="*/ 2161699 w 2305050"/>
                <a:gd name="connsiteY10" fmla="*/ 1468279 h 2447925"/>
                <a:gd name="connsiteX11" fmla="*/ 2194084 w 2305050"/>
                <a:gd name="connsiteY11" fmla="*/ 1468279 h 2447925"/>
                <a:gd name="connsiteX12" fmla="*/ 2299811 w 2305050"/>
                <a:gd name="connsiteY12" fmla="*/ 1360646 h 2447925"/>
                <a:gd name="connsiteX13" fmla="*/ 2299811 w 2305050"/>
                <a:gd name="connsiteY13" fmla="*/ 1092041 h 2447925"/>
                <a:gd name="connsiteX14" fmla="*/ 2194084 w 2305050"/>
                <a:gd name="connsiteY14" fmla="*/ 984409 h 2447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5050" h="2447925">
                  <a:moveTo>
                    <a:pt x="2194084" y="984409"/>
                  </a:moveTo>
                  <a:lnTo>
                    <a:pt x="2161699" y="984409"/>
                  </a:lnTo>
                  <a:lnTo>
                    <a:pt x="2161699" y="501491"/>
                  </a:lnTo>
                  <a:cubicBezTo>
                    <a:pt x="2161699" y="229076"/>
                    <a:pt x="1927384" y="7144"/>
                    <a:pt x="1637824" y="7144"/>
                  </a:cubicBezTo>
                  <a:lnTo>
                    <a:pt x="531019" y="7144"/>
                  </a:lnTo>
                  <a:cubicBezTo>
                    <a:pt x="241459" y="7144"/>
                    <a:pt x="7144" y="228124"/>
                    <a:pt x="7144" y="501491"/>
                  </a:cubicBezTo>
                  <a:lnTo>
                    <a:pt x="7144" y="1951196"/>
                  </a:lnTo>
                  <a:cubicBezTo>
                    <a:pt x="7144" y="2223611"/>
                    <a:pt x="241459" y="2445544"/>
                    <a:pt x="531019" y="2445544"/>
                  </a:cubicBezTo>
                  <a:lnTo>
                    <a:pt x="1637824" y="2445544"/>
                  </a:lnTo>
                  <a:cubicBezTo>
                    <a:pt x="1927384" y="2445544"/>
                    <a:pt x="2161699" y="2224564"/>
                    <a:pt x="2161699" y="1951196"/>
                  </a:cubicBezTo>
                  <a:lnTo>
                    <a:pt x="2161699" y="1468279"/>
                  </a:lnTo>
                  <a:lnTo>
                    <a:pt x="2194084" y="1468279"/>
                  </a:lnTo>
                  <a:cubicBezTo>
                    <a:pt x="2252186" y="1468279"/>
                    <a:pt x="2299811" y="1419701"/>
                    <a:pt x="2299811" y="1360646"/>
                  </a:cubicBezTo>
                  <a:lnTo>
                    <a:pt x="2299811" y="1092041"/>
                  </a:lnTo>
                  <a:cubicBezTo>
                    <a:pt x="2299811" y="1032986"/>
                    <a:pt x="2252186" y="984409"/>
                    <a:pt x="2194084" y="984409"/>
                  </a:cubicBezTo>
                  <a:close/>
                </a:path>
              </a:pathLst>
            </a:custGeom>
            <a:solidFill>
              <a:srgbClr val="00314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5F87900-26A2-4FD5-BF54-D74B29F32367}"/>
                </a:ext>
              </a:extLst>
            </p:cNvPr>
            <p:cNvSpPr/>
            <p:nvPr/>
          </p:nvSpPr>
          <p:spPr>
            <a:xfrm>
              <a:off x="7116624" y="2470798"/>
              <a:ext cx="1929752" cy="2249540"/>
            </a:xfrm>
            <a:custGeom>
              <a:avLst/>
              <a:gdLst>
                <a:gd name="connsiteX0" fmla="*/ 284321 w 1666875"/>
                <a:gd name="connsiteY0" fmla="*/ 1940719 h 1943100"/>
                <a:gd name="connsiteX1" fmla="*/ 7144 w 1666875"/>
                <a:gd name="connsiteY1" fmla="*/ 1698784 h 1943100"/>
                <a:gd name="connsiteX2" fmla="*/ 7144 w 1666875"/>
                <a:gd name="connsiteY2" fmla="*/ 249079 h 1943100"/>
                <a:gd name="connsiteX3" fmla="*/ 284321 w 1666875"/>
                <a:gd name="connsiteY3" fmla="*/ 7144 h 1943100"/>
                <a:gd name="connsiteX4" fmla="*/ 1391126 w 1666875"/>
                <a:gd name="connsiteY4" fmla="*/ 7144 h 1943100"/>
                <a:gd name="connsiteX5" fmla="*/ 1668304 w 1666875"/>
                <a:gd name="connsiteY5" fmla="*/ 249079 h 1943100"/>
                <a:gd name="connsiteX6" fmla="*/ 1668304 w 1666875"/>
                <a:gd name="connsiteY6" fmla="*/ 1698784 h 1943100"/>
                <a:gd name="connsiteX7" fmla="*/ 1391126 w 1666875"/>
                <a:gd name="connsiteY7" fmla="*/ 1940719 h 1943100"/>
                <a:gd name="connsiteX8" fmla="*/ 284321 w 1666875"/>
                <a:gd name="connsiteY8" fmla="*/ 1940719 h 19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66875" h="1943100">
                  <a:moveTo>
                    <a:pt x="284321" y="1940719"/>
                  </a:moveTo>
                  <a:cubicBezTo>
                    <a:pt x="130969" y="1940719"/>
                    <a:pt x="7144" y="1832134"/>
                    <a:pt x="7144" y="1698784"/>
                  </a:cubicBezTo>
                  <a:lnTo>
                    <a:pt x="7144" y="249079"/>
                  </a:lnTo>
                  <a:cubicBezTo>
                    <a:pt x="7144" y="115729"/>
                    <a:pt x="131921" y="7144"/>
                    <a:pt x="284321" y="7144"/>
                  </a:cubicBezTo>
                  <a:lnTo>
                    <a:pt x="1391126" y="7144"/>
                  </a:lnTo>
                  <a:cubicBezTo>
                    <a:pt x="1544479" y="7144"/>
                    <a:pt x="1668304" y="115729"/>
                    <a:pt x="1668304" y="249079"/>
                  </a:cubicBezTo>
                  <a:lnTo>
                    <a:pt x="1668304" y="1698784"/>
                  </a:lnTo>
                  <a:cubicBezTo>
                    <a:pt x="1668304" y="1832134"/>
                    <a:pt x="1543526" y="1940719"/>
                    <a:pt x="1391126" y="1940719"/>
                  </a:cubicBezTo>
                  <a:lnTo>
                    <a:pt x="284321" y="194071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5F17593-F3AE-47F2-B149-BCF1BD15330A}"/>
                </a:ext>
              </a:extLst>
            </p:cNvPr>
            <p:cNvSpPr/>
            <p:nvPr/>
          </p:nvSpPr>
          <p:spPr>
            <a:xfrm>
              <a:off x="7201532" y="1766162"/>
              <a:ext cx="1764345" cy="374923"/>
            </a:xfrm>
            <a:custGeom>
              <a:avLst/>
              <a:gdLst>
                <a:gd name="connsiteX0" fmla="*/ 1521619 w 1524000"/>
                <a:gd name="connsiteY0" fmla="*/ 215741 h 323850"/>
                <a:gd name="connsiteX1" fmla="*/ 1417796 w 1524000"/>
                <a:gd name="connsiteY1" fmla="*/ 323374 h 323850"/>
                <a:gd name="connsiteX2" fmla="*/ 110966 w 1524000"/>
                <a:gd name="connsiteY2" fmla="*/ 323374 h 323850"/>
                <a:gd name="connsiteX3" fmla="*/ 7144 w 1524000"/>
                <a:gd name="connsiteY3" fmla="*/ 215741 h 323850"/>
                <a:gd name="connsiteX4" fmla="*/ 7144 w 1524000"/>
                <a:gd name="connsiteY4" fmla="*/ 114776 h 323850"/>
                <a:gd name="connsiteX5" fmla="*/ 110966 w 1524000"/>
                <a:gd name="connsiteY5" fmla="*/ 7144 h 323850"/>
                <a:gd name="connsiteX6" fmla="*/ 1417796 w 1524000"/>
                <a:gd name="connsiteY6" fmla="*/ 7144 h 323850"/>
                <a:gd name="connsiteX7" fmla="*/ 1521619 w 1524000"/>
                <a:gd name="connsiteY7" fmla="*/ 114776 h 323850"/>
                <a:gd name="connsiteX8" fmla="*/ 1521619 w 1524000"/>
                <a:gd name="connsiteY8" fmla="*/ 21574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0" h="323850">
                  <a:moveTo>
                    <a:pt x="1521619" y="215741"/>
                  </a:moveTo>
                  <a:cubicBezTo>
                    <a:pt x="1521619" y="275749"/>
                    <a:pt x="1474946" y="323374"/>
                    <a:pt x="1417796" y="323374"/>
                  </a:cubicBezTo>
                  <a:lnTo>
                    <a:pt x="110966" y="323374"/>
                  </a:lnTo>
                  <a:cubicBezTo>
                    <a:pt x="53816" y="323374"/>
                    <a:pt x="7144" y="274796"/>
                    <a:pt x="7144" y="215741"/>
                  </a:cubicBezTo>
                  <a:lnTo>
                    <a:pt x="7144" y="114776"/>
                  </a:lnTo>
                  <a:cubicBezTo>
                    <a:pt x="7144" y="54769"/>
                    <a:pt x="52864" y="7144"/>
                    <a:pt x="110966" y="7144"/>
                  </a:cubicBezTo>
                  <a:lnTo>
                    <a:pt x="1417796" y="7144"/>
                  </a:lnTo>
                  <a:cubicBezTo>
                    <a:pt x="1474946" y="7144"/>
                    <a:pt x="1521619" y="55721"/>
                    <a:pt x="1521619" y="114776"/>
                  </a:cubicBezTo>
                  <a:lnTo>
                    <a:pt x="1521619" y="215741"/>
                  </a:lnTo>
                  <a:close/>
                </a:path>
              </a:pathLst>
            </a:custGeom>
            <a:solidFill>
              <a:srgbClr val="00314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39AABA4-562A-4090-B419-1E40B667655A}"/>
                </a:ext>
              </a:extLst>
            </p:cNvPr>
            <p:cNvSpPr/>
            <p:nvPr/>
          </p:nvSpPr>
          <p:spPr>
            <a:xfrm>
              <a:off x="7276517" y="1352644"/>
              <a:ext cx="1609965" cy="374923"/>
            </a:xfrm>
            <a:custGeom>
              <a:avLst/>
              <a:gdLst>
                <a:gd name="connsiteX0" fmla="*/ 1391126 w 1390650"/>
                <a:gd name="connsiteY0" fmla="*/ 215741 h 323850"/>
                <a:gd name="connsiteX1" fmla="*/ 1295876 w 1390650"/>
                <a:gd name="connsiteY1" fmla="*/ 323374 h 323850"/>
                <a:gd name="connsiteX2" fmla="*/ 102394 w 1390650"/>
                <a:gd name="connsiteY2" fmla="*/ 323374 h 323850"/>
                <a:gd name="connsiteX3" fmla="*/ 7144 w 1390650"/>
                <a:gd name="connsiteY3" fmla="*/ 215741 h 323850"/>
                <a:gd name="connsiteX4" fmla="*/ 7144 w 1390650"/>
                <a:gd name="connsiteY4" fmla="*/ 114776 h 323850"/>
                <a:gd name="connsiteX5" fmla="*/ 102394 w 1390650"/>
                <a:gd name="connsiteY5" fmla="*/ 7144 h 323850"/>
                <a:gd name="connsiteX6" fmla="*/ 1295876 w 1390650"/>
                <a:gd name="connsiteY6" fmla="*/ 7144 h 323850"/>
                <a:gd name="connsiteX7" fmla="*/ 1391126 w 1390650"/>
                <a:gd name="connsiteY7" fmla="*/ 114776 h 323850"/>
                <a:gd name="connsiteX8" fmla="*/ 1391126 w 1390650"/>
                <a:gd name="connsiteY8" fmla="*/ 21574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0650" h="323850">
                  <a:moveTo>
                    <a:pt x="1391126" y="215741"/>
                  </a:moveTo>
                  <a:cubicBezTo>
                    <a:pt x="1391126" y="275749"/>
                    <a:pt x="1348264" y="323374"/>
                    <a:pt x="1295876" y="323374"/>
                  </a:cubicBezTo>
                  <a:lnTo>
                    <a:pt x="102394" y="323374"/>
                  </a:lnTo>
                  <a:cubicBezTo>
                    <a:pt x="50006" y="323374"/>
                    <a:pt x="7144" y="274796"/>
                    <a:pt x="7144" y="215741"/>
                  </a:cubicBezTo>
                  <a:lnTo>
                    <a:pt x="7144" y="114776"/>
                  </a:lnTo>
                  <a:cubicBezTo>
                    <a:pt x="7144" y="54769"/>
                    <a:pt x="50006" y="7144"/>
                    <a:pt x="102394" y="7144"/>
                  </a:cubicBezTo>
                  <a:lnTo>
                    <a:pt x="1295876" y="7144"/>
                  </a:lnTo>
                  <a:cubicBezTo>
                    <a:pt x="1348264" y="7144"/>
                    <a:pt x="1391126" y="55721"/>
                    <a:pt x="1391126" y="114776"/>
                  </a:cubicBezTo>
                  <a:lnTo>
                    <a:pt x="1391126" y="215741"/>
                  </a:lnTo>
                  <a:close/>
                </a:path>
              </a:pathLst>
            </a:custGeom>
            <a:solidFill>
              <a:srgbClr val="00314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F3B501E3-E8E4-4083-BD91-0791FBA5928E}"/>
                </a:ext>
              </a:extLst>
            </p:cNvPr>
            <p:cNvSpPr/>
            <p:nvPr/>
          </p:nvSpPr>
          <p:spPr>
            <a:xfrm>
              <a:off x="7353707" y="939125"/>
              <a:ext cx="1455585" cy="374923"/>
            </a:xfrm>
            <a:custGeom>
              <a:avLst/>
              <a:gdLst>
                <a:gd name="connsiteX0" fmla="*/ 1258729 w 1257300"/>
                <a:gd name="connsiteY0" fmla="*/ 215741 h 323850"/>
                <a:gd name="connsiteX1" fmla="*/ 1173004 w 1257300"/>
                <a:gd name="connsiteY1" fmla="*/ 323374 h 323850"/>
                <a:gd name="connsiteX2" fmla="*/ 92869 w 1257300"/>
                <a:gd name="connsiteY2" fmla="*/ 323374 h 323850"/>
                <a:gd name="connsiteX3" fmla="*/ 7144 w 1257300"/>
                <a:gd name="connsiteY3" fmla="*/ 215741 h 323850"/>
                <a:gd name="connsiteX4" fmla="*/ 7144 w 1257300"/>
                <a:gd name="connsiteY4" fmla="*/ 114776 h 323850"/>
                <a:gd name="connsiteX5" fmla="*/ 92869 w 1257300"/>
                <a:gd name="connsiteY5" fmla="*/ 7144 h 323850"/>
                <a:gd name="connsiteX6" fmla="*/ 1173004 w 1257300"/>
                <a:gd name="connsiteY6" fmla="*/ 7144 h 323850"/>
                <a:gd name="connsiteX7" fmla="*/ 1258729 w 1257300"/>
                <a:gd name="connsiteY7" fmla="*/ 114776 h 323850"/>
                <a:gd name="connsiteX8" fmla="*/ 1258729 w 1257300"/>
                <a:gd name="connsiteY8" fmla="*/ 21574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7300" h="323850">
                  <a:moveTo>
                    <a:pt x="1258729" y="215741"/>
                  </a:moveTo>
                  <a:cubicBezTo>
                    <a:pt x="1258729" y="275749"/>
                    <a:pt x="1220629" y="323374"/>
                    <a:pt x="1173004" y="323374"/>
                  </a:cubicBezTo>
                  <a:lnTo>
                    <a:pt x="92869" y="323374"/>
                  </a:lnTo>
                  <a:cubicBezTo>
                    <a:pt x="45244" y="323374"/>
                    <a:pt x="7144" y="274796"/>
                    <a:pt x="7144" y="215741"/>
                  </a:cubicBezTo>
                  <a:lnTo>
                    <a:pt x="7144" y="114776"/>
                  </a:lnTo>
                  <a:cubicBezTo>
                    <a:pt x="7144" y="54769"/>
                    <a:pt x="45244" y="7144"/>
                    <a:pt x="92869" y="7144"/>
                  </a:cubicBezTo>
                  <a:lnTo>
                    <a:pt x="1173004" y="7144"/>
                  </a:lnTo>
                  <a:cubicBezTo>
                    <a:pt x="1220629" y="7144"/>
                    <a:pt x="1258729" y="55721"/>
                    <a:pt x="1258729" y="114776"/>
                  </a:cubicBezTo>
                  <a:lnTo>
                    <a:pt x="1258729" y="215741"/>
                  </a:lnTo>
                  <a:close/>
                </a:path>
              </a:pathLst>
            </a:custGeom>
            <a:solidFill>
              <a:srgbClr val="00314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9886EB5-2BA0-45B7-88C1-2E4E94ED8D6C}"/>
                </a:ext>
              </a:extLst>
            </p:cNvPr>
            <p:cNvSpPr/>
            <p:nvPr/>
          </p:nvSpPr>
          <p:spPr>
            <a:xfrm>
              <a:off x="7353707" y="5874881"/>
              <a:ext cx="1455585" cy="374923"/>
            </a:xfrm>
            <a:custGeom>
              <a:avLst/>
              <a:gdLst>
                <a:gd name="connsiteX0" fmla="*/ 1258729 w 1257300"/>
                <a:gd name="connsiteY0" fmla="*/ 215741 h 323850"/>
                <a:gd name="connsiteX1" fmla="*/ 1173004 w 1257300"/>
                <a:gd name="connsiteY1" fmla="*/ 323374 h 323850"/>
                <a:gd name="connsiteX2" fmla="*/ 92869 w 1257300"/>
                <a:gd name="connsiteY2" fmla="*/ 323374 h 323850"/>
                <a:gd name="connsiteX3" fmla="*/ 7144 w 1257300"/>
                <a:gd name="connsiteY3" fmla="*/ 215741 h 323850"/>
                <a:gd name="connsiteX4" fmla="*/ 7144 w 1257300"/>
                <a:gd name="connsiteY4" fmla="*/ 114776 h 323850"/>
                <a:gd name="connsiteX5" fmla="*/ 92869 w 1257300"/>
                <a:gd name="connsiteY5" fmla="*/ 7144 h 323850"/>
                <a:gd name="connsiteX6" fmla="*/ 1173004 w 1257300"/>
                <a:gd name="connsiteY6" fmla="*/ 7144 h 323850"/>
                <a:gd name="connsiteX7" fmla="*/ 1258729 w 1257300"/>
                <a:gd name="connsiteY7" fmla="*/ 114776 h 323850"/>
                <a:gd name="connsiteX8" fmla="*/ 1258729 w 1257300"/>
                <a:gd name="connsiteY8" fmla="*/ 21574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7300" h="323850">
                  <a:moveTo>
                    <a:pt x="1258729" y="215741"/>
                  </a:moveTo>
                  <a:cubicBezTo>
                    <a:pt x="1258729" y="275749"/>
                    <a:pt x="1220629" y="323374"/>
                    <a:pt x="1173004" y="323374"/>
                  </a:cubicBezTo>
                  <a:lnTo>
                    <a:pt x="92869" y="323374"/>
                  </a:lnTo>
                  <a:cubicBezTo>
                    <a:pt x="45244" y="323374"/>
                    <a:pt x="7144" y="274796"/>
                    <a:pt x="7144" y="215741"/>
                  </a:cubicBezTo>
                  <a:lnTo>
                    <a:pt x="7144" y="114776"/>
                  </a:lnTo>
                  <a:cubicBezTo>
                    <a:pt x="7144" y="54769"/>
                    <a:pt x="45244" y="7144"/>
                    <a:pt x="92869" y="7144"/>
                  </a:cubicBezTo>
                  <a:lnTo>
                    <a:pt x="1173004" y="7144"/>
                  </a:lnTo>
                  <a:cubicBezTo>
                    <a:pt x="1220629" y="7144"/>
                    <a:pt x="1258729" y="55721"/>
                    <a:pt x="1258729" y="114776"/>
                  </a:cubicBezTo>
                  <a:lnTo>
                    <a:pt x="1258729" y="215741"/>
                  </a:lnTo>
                  <a:close/>
                </a:path>
              </a:pathLst>
            </a:custGeom>
            <a:solidFill>
              <a:srgbClr val="00314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4B91359-2EB7-48C0-869A-E8E016DE747D}"/>
                </a:ext>
              </a:extLst>
            </p:cNvPr>
            <p:cNvSpPr/>
            <p:nvPr/>
          </p:nvSpPr>
          <p:spPr>
            <a:xfrm>
              <a:off x="7276517" y="5461363"/>
              <a:ext cx="1609965" cy="374923"/>
            </a:xfrm>
            <a:custGeom>
              <a:avLst/>
              <a:gdLst>
                <a:gd name="connsiteX0" fmla="*/ 1391126 w 1390650"/>
                <a:gd name="connsiteY0" fmla="*/ 215741 h 323850"/>
                <a:gd name="connsiteX1" fmla="*/ 1295876 w 1390650"/>
                <a:gd name="connsiteY1" fmla="*/ 323374 h 323850"/>
                <a:gd name="connsiteX2" fmla="*/ 102394 w 1390650"/>
                <a:gd name="connsiteY2" fmla="*/ 323374 h 323850"/>
                <a:gd name="connsiteX3" fmla="*/ 7144 w 1390650"/>
                <a:gd name="connsiteY3" fmla="*/ 215741 h 323850"/>
                <a:gd name="connsiteX4" fmla="*/ 7144 w 1390650"/>
                <a:gd name="connsiteY4" fmla="*/ 114776 h 323850"/>
                <a:gd name="connsiteX5" fmla="*/ 102394 w 1390650"/>
                <a:gd name="connsiteY5" fmla="*/ 7144 h 323850"/>
                <a:gd name="connsiteX6" fmla="*/ 1295876 w 1390650"/>
                <a:gd name="connsiteY6" fmla="*/ 7144 h 323850"/>
                <a:gd name="connsiteX7" fmla="*/ 1391126 w 1390650"/>
                <a:gd name="connsiteY7" fmla="*/ 114776 h 323850"/>
                <a:gd name="connsiteX8" fmla="*/ 1391126 w 1390650"/>
                <a:gd name="connsiteY8" fmla="*/ 21574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0650" h="323850">
                  <a:moveTo>
                    <a:pt x="1391126" y="215741"/>
                  </a:moveTo>
                  <a:cubicBezTo>
                    <a:pt x="1391126" y="275749"/>
                    <a:pt x="1348264" y="323374"/>
                    <a:pt x="1295876" y="323374"/>
                  </a:cubicBezTo>
                  <a:lnTo>
                    <a:pt x="102394" y="323374"/>
                  </a:lnTo>
                  <a:cubicBezTo>
                    <a:pt x="50006" y="323374"/>
                    <a:pt x="7144" y="274796"/>
                    <a:pt x="7144" y="215741"/>
                  </a:cubicBezTo>
                  <a:lnTo>
                    <a:pt x="7144" y="114776"/>
                  </a:lnTo>
                  <a:cubicBezTo>
                    <a:pt x="7144" y="54769"/>
                    <a:pt x="50006" y="7144"/>
                    <a:pt x="102394" y="7144"/>
                  </a:cubicBezTo>
                  <a:lnTo>
                    <a:pt x="1295876" y="7144"/>
                  </a:lnTo>
                  <a:cubicBezTo>
                    <a:pt x="1348264" y="7144"/>
                    <a:pt x="1391126" y="55721"/>
                    <a:pt x="1391126" y="114776"/>
                  </a:cubicBezTo>
                  <a:lnTo>
                    <a:pt x="1391126" y="215741"/>
                  </a:lnTo>
                  <a:close/>
                </a:path>
              </a:pathLst>
            </a:custGeom>
            <a:solidFill>
              <a:srgbClr val="00314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E2B5BCF-1E94-43CE-B6E5-E5ABFF2FA6C2}"/>
                </a:ext>
              </a:extLst>
            </p:cNvPr>
            <p:cNvSpPr/>
            <p:nvPr/>
          </p:nvSpPr>
          <p:spPr>
            <a:xfrm>
              <a:off x="7201532" y="5047844"/>
              <a:ext cx="1764345" cy="374923"/>
            </a:xfrm>
            <a:custGeom>
              <a:avLst/>
              <a:gdLst>
                <a:gd name="connsiteX0" fmla="*/ 1521619 w 1524000"/>
                <a:gd name="connsiteY0" fmla="*/ 215741 h 323850"/>
                <a:gd name="connsiteX1" fmla="*/ 1417796 w 1524000"/>
                <a:gd name="connsiteY1" fmla="*/ 323374 h 323850"/>
                <a:gd name="connsiteX2" fmla="*/ 110966 w 1524000"/>
                <a:gd name="connsiteY2" fmla="*/ 323374 h 323850"/>
                <a:gd name="connsiteX3" fmla="*/ 7144 w 1524000"/>
                <a:gd name="connsiteY3" fmla="*/ 215741 h 323850"/>
                <a:gd name="connsiteX4" fmla="*/ 7144 w 1524000"/>
                <a:gd name="connsiteY4" fmla="*/ 114776 h 323850"/>
                <a:gd name="connsiteX5" fmla="*/ 110966 w 1524000"/>
                <a:gd name="connsiteY5" fmla="*/ 7144 h 323850"/>
                <a:gd name="connsiteX6" fmla="*/ 1417796 w 1524000"/>
                <a:gd name="connsiteY6" fmla="*/ 7144 h 323850"/>
                <a:gd name="connsiteX7" fmla="*/ 1521619 w 1524000"/>
                <a:gd name="connsiteY7" fmla="*/ 114776 h 323850"/>
                <a:gd name="connsiteX8" fmla="*/ 1521619 w 1524000"/>
                <a:gd name="connsiteY8" fmla="*/ 21574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0" h="323850">
                  <a:moveTo>
                    <a:pt x="1521619" y="215741"/>
                  </a:moveTo>
                  <a:cubicBezTo>
                    <a:pt x="1521619" y="275749"/>
                    <a:pt x="1474946" y="323374"/>
                    <a:pt x="1417796" y="323374"/>
                  </a:cubicBezTo>
                  <a:lnTo>
                    <a:pt x="110966" y="323374"/>
                  </a:lnTo>
                  <a:cubicBezTo>
                    <a:pt x="53816" y="323374"/>
                    <a:pt x="7144" y="274796"/>
                    <a:pt x="7144" y="215741"/>
                  </a:cubicBezTo>
                  <a:lnTo>
                    <a:pt x="7144" y="114776"/>
                  </a:lnTo>
                  <a:cubicBezTo>
                    <a:pt x="7144" y="54769"/>
                    <a:pt x="53816" y="7144"/>
                    <a:pt x="110966" y="7144"/>
                  </a:cubicBezTo>
                  <a:lnTo>
                    <a:pt x="1417796" y="7144"/>
                  </a:lnTo>
                  <a:cubicBezTo>
                    <a:pt x="1474946" y="7144"/>
                    <a:pt x="1521619" y="55721"/>
                    <a:pt x="1521619" y="114776"/>
                  </a:cubicBezTo>
                  <a:lnTo>
                    <a:pt x="1521619" y="215741"/>
                  </a:lnTo>
                  <a:close/>
                </a:path>
              </a:pathLst>
            </a:custGeom>
            <a:solidFill>
              <a:srgbClr val="00314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8" name="Picture Placeholder">
            <a:extLst>
              <a:ext uri="{FF2B5EF4-FFF2-40B4-BE49-F238E27FC236}">
                <a16:creationId xmlns:a16="http://schemas.microsoft.com/office/drawing/2014/main" id="{6BF5AA0E-B1D1-4294-8099-EABC0AE3B54D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11734779" y="3963708"/>
            <a:ext cx="3182081" cy="3709658"/>
          </a:xfrm>
          <a:prstGeom prst="roundRect">
            <a:avLst>
              <a:gd name="adj" fmla="val 16050"/>
            </a:avLst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algn="ctr">
              <a:defRPr sz="2638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8734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tch + portrait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Watch Shapes">
            <a:extLst>
              <a:ext uri="{FF2B5EF4-FFF2-40B4-BE49-F238E27FC236}">
                <a16:creationId xmlns:a16="http://schemas.microsoft.com/office/drawing/2014/main" id="{22AB7DF9-8E42-4A32-898C-707BC8F3F331}"/>
              </a:ext>
            </a:extLst>
          </p:cNvPr>
          <p:cNvGrpSpPr/>
          <p:nvPr userDrawn="1"/>
        </p:nvGrpSpPr>
        <p:grpSpPr>
          <a:xfrm>
            <a:off x="11085959" y="1055017"/>
            <a:ext cx="4784263" cy="9521747"/>
            <a:chOff x="6831020" y="939125"/>
            <a:chExt cx="2668572" cy="5310679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9207F7F-4CA7-49EB-BF3D-EDB453CE163D}"/>
                </a:ext>
              </a:extLst>
            </p:cNvPr>
            <p:cNvSpPr/>
            <p:nvPr/>
          </p:nvSpPr>
          <p:spPr>
            <a:xfrm>
              <a:off x="6831020" y="2178577"/>
              <a:ext cx="2668572" cy="2833979"/>
            </a:xfrm>
            <a:custGeom>
              <a:avLst/>
              <a:gdLst>
                <a:gd name="connsiteX0" fmla="*/ 2194084 w 2305050"/>
                <a:gd name="connsiteY0" fmla="*/ 984409 h 2447925"/>
                <a:gd name="connsiteX1" fmla="*/ 2161699 w 2305050"/>
                <a:gd name="connsiteY1" fmla="*/ 984409 h 2447925"/>
                <a:gd name="connsiteX2" fmla="*/ 2161699 w 2305050"/>
                <a:gd name="connsiteY2" fmla="*/ 501491 h 2447925"/>
                <a:gd name="connsiteX3" fmla="*/ 1637824 w 2305050"/>
                <a:gd name="connsiteY3" fmla="*/ 7144 h 2447925"/>
                <a:gd name="connsiteX4" fmla="*/ 531019 w 2305050"/>
                <a:gd name="connsiteY4" fmla="*/ 7144 h 2447925"/>
                <a:gd name="connsiteX5" fmla="*/ 7144 w 2305050"/>
                <a:gd name="connsiteY5" fmla="*/ 501491 h 2447925"/>
                <a:gd name="connsiteX6" fmla="*/ 7144 w 2305050"/>
                <a:gd name="connsiteY6" fmla="*/ 1951196 h 2447925"/>
                <a:gd name="connsiteX7" fmla="*/ 531019 w 2305050"/>
                <a:gd name="connsiteY7" fmla="*/ 2445544 h 2447925"/>
                <a:gd name="connsiteX8" fmla="*/ 1637824 w 2305050"/>
                <a:gd name="connsiteY8" fmla="*/ 2445544 h 2447925"/>
                <a:gd name="connsiteX9" fmla="*/ 2161699 w 2305050"/>
                <a:gd name="connsiteY9" fmla="*/ 1951196 h 2447925"/>
                <a:gd name="connsiteX10" fmla="*/ 2161699 w 2305050"/>
                <a:gd name="connsiteY10" fmla="*/ 1468279 h 2447925"/>
                <a:gd name="connsiteX11" fmla="*/ 2194084 w 2305050"/>
                <a:gd name="connsiteY11" fmla="*/ 1468279 h 2447925"/>
                <a:gd name="connsiteX12" fmla="*/ 2299811 w 2305050"/>
                <a:gd name="connsiteY12" fmla="*/ 1360646 h 2447925"/>
                <a:gd name="connsiteX13" fmla="*/ 2299811 w 2305050"/>
                <a:gd name="connsiteY13" fmla="*/ 1092041 h 2447925"/>
                <a:gd name="connsiteX14" fmla="*/ 2194084 w 2305050"/>
                <a:gd name="connsiteY14" fmla="*/ 984409 h 2447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305050" h="2447925">
                  <a:moveTo>
                    <a:pt x="2194084" y="984409"/>
                  </a:moveTo>
                  <a:lnTo>
                    <a:pt x="2161699" y="984409"/>
                  </a:lnTo>
                  <a:lnTo>
                    <a:pt x="2161699" y="501491"/>
                  </a:lnTo>
                  <a:cubicBezTo>
                    <a:pt x="2161699" y="229076"/>
                    <a:pt x="1927384" y="7144"/>
                    <a:pt x="1637824" y="7144"/>
                  </a:cubicBezTo>
                  <a:lnTo>
                    <a:pt x="531019" y="7144"/>
                  </a:lnTo>
                  <a:cubicBezTo>
                    <a:pt x="241459" y="7144"/>
                    <a:pt x="7144" y="228124"/>
                    <a:pt x="7144" y="501491"/>
                  </a:cubicBezTo>
                  <a:lnTo>
                    <a:pt x="7144" y="1951196"/>
                  </a:lnTo>
                  <a:cubicBezTo>
                    <a:pt x="7144" y="2223611"/>
                    <a:pt x="241459" y="2445544"/>
                    <a:pt x="531019" y="2445544"/>
                  </a:cubicBezTo>
                  <a:lnTo>
                    <a:pt x="1637824" y="2445544"/>
                  </a:lnTo>
                  <a:cubicBezTo>
                    <a:pt x="1927384" y="2445544"/>
                    <a:pt x="2161699" y="2224564"/>
                    <a:pt x="2161699" y="1951196"/>
                  </a:cubicBezTo>
                  <a:lnTo>
                    <a:pt x="2161699" y="1468279"/>
                  </a:lnTo>
                  <a:lnTo>
                    <a:pt x="2194084" y="1468279"/>
                  </a:lnTo>
                  <a:cubicBezTo>
                    <a:pt x="2252186" y="1468279"/>
                    <a:pt x="2299811" y="1419701"/>
                    <a:pt x="2299811" y="1360646"/>
                  </a:cubicBezTo>
                  <a:lnTo>
                    <a:pt x="2299811" y="1092041"/>
                  </a:lnTo>
                  <a:cubicBezTo>
                    <a:pt x="2299811" y="1032986"/>
                    <a:pt x="2252186" y="984409"/>
                    <a:pt x="2194084" y="984409"/>
                  </a:cubicBezTo>
                  <a:close/>
                </a:path>
              </a:pathLst>
            </a:custGeom>
            <a:solidFill>
              <a:srgbClr val="00314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A55036AB-920E-4A49-959A-E661A2641D2B}"/>
                </a:ext>
              </a:extLst>
            </p:cNvPr>
            <p:cNvSpPr/>
            <p:nvPr/>
          </p:nvSpPr>
          <p:spPr>
            <a:xfrm>
              <a:off x="7116624" y="2470798"/>
              <a:ext cx="1929752" cy="2249540"/>
            </a:xfrm>
            <a:custGeom>
              <a:avLst/>
              <a:gdLst>
                <a:gd name="connsiteX0" fmla="*/ 284321 w 1666875"/>
                <a:gd name="connsiteY0" fmla="*/ 1940719 h 1943100"/>
                <a:gd name="connsiteX1" fmla="*/ 7144 w 1666875"/>
                <a:gd name="connsiteY1" fmla="*/ 1698784 h 1943100"/>
                <a:gd name="connsiteX2" fmla="*/ 7144 w 1666875"/>
                <a:gd name="connsiteY2" fmla="*/ 249079 h 1943100"/>
                <a:gd name="connsiteX3" fmla="*/ 284321 w 1666875"/>
                <a:gd name="connsiteY3" fmla="*/ 7144 h 1943100"/>
                <a:gd name="connsiteX4" fmla="*/ 1391126 w 1666875"/>
                <a:gd name="connsiteY4" fmla="*/ 7144 h 1943100"/>
                <a:gd name="connsiteX5" fmla="*/ 1668304 w 1666875"/>
                <a:gd name="connsiteY5" fmla="*/ 249079 h 1943100"/>
                <a:gd name="connsiteX6" fmla="*/ 1668304 w 1666875"/>
                <a:gd name="connsiteY6" fmla="*/ 1698784 h 1943100"/>
                <a:gd name="connsiteX7" fmla="*/ 1391126 w 1666875"/>
                <a:gd name="connsiteY7" fmla="*/ 1940719 h 1943100"/>
                <a:gd name="connsiteX8" fmla="*/ 284321 w 1666875"/>
                <a:gd name="connsiteY8" fmla="*/ 1940719 h 19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66875" h="1943100">
                  <a:moveTo>
                    <a:pt x="284321" y="1940719"/>
                  </a:moveTo>
                  <a:cubicBezTo>
                    <a:pt x="130969" y="1940719"/>
                    <a:pt x="7144" y="1832134"/>
                    <a:pt x="7144" y="1698784"/>
                  </a:cubicBezTo>
                  <a:lnTo>
                    <a:pt x="7144" y="249079"/>
                  </a:lnTo>
                  <a:cubicBezTo>
                    <a:pt x="7144" y="115729"/>
                    <a:pt x="131921" y="7144"/>
                    <a:pt x="284321" y="7144"/>
                  </a:cubicBezTo>
                  <a:lnTo>
                    <a:pt x="1391126" y="7144"/>
                  </a:lnTo>
                  <a:cubicBezTo>
                    <a:pt x="1544479" y="7144"/>
                    <a:pt x="1668304" y="115729"/>
                    <a:pt x="1668304" y="249079"/>
                  </a:cubicBezTo>
                  <a:lnTo>
                    <a:pt x="1668304" y="1698784"/>
                  </a:lnTo>
                  <a:cubicBezTo>
                    <a:pt x="1668304" y="1832134"/>
                    <a:pt x="1543526" y="1940719"/>
                    <a:pt x="1391126" y="1940719"/>
                  </a:cubicBezTo>
                  <a:lnTo>
                    <a:pt x="284321" y="1940719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1B5353A-D476-4A76-9F12-68476D7D3D24}"/>
                </a:ext>
              </a:extLst>
            </p:cNvPr>
            <p:cNvSpPr/>
            <p:nvPr/>
          </p:nvSpPr>
          <p:spPr>
            <a:xfrm>
              <a:off x="7201532" y="1766162"/>
              <a:ext cx="1764345" cy="374923"/>
            </a:xfrm>
            <a:custGeom>
              <a:avLst/>
              <a:gdLst>
                <a:gd name="connsiteX0" fmla="*/ 1521619 w 1524000"/>
                <a:gd name="connsiteY0" fmla="*/ 215741 h 323850"/>
                <a:gd name="connsiteX1" fmla="*/ 1417796 w 1524000"/>
                <a:gd name="connsiteY1" fmla="*/ 323374 h 323850"/>
                <a:gd name="connsiteX2" fmla="*/ 110966 w 1524000"/>
                <a:gd name="connsiteY2" fmla="*/ 323374 h 323850"/>
                <a:gd name="connsiteX3" fmla="*/ 7144 w 1524000"/>
                <a:gd name="connsiteY3" fmla="*/ 215741 h 323850"/>
                <a:gd name="connsiteX4" fmla="*/ 7144 w 1524000"/>
                <a:gd name="connsiteY4" fmla="*/ 114776 h 323850"/>
                <a:gd name="connsiteX5" fmla="*/ 110966 w 1524000"/>
                <a:gd name="connsiteY5" fmla="*/ 7144 h 323850"/>
                <a:gd name="connsiteX6" fmla="*/ 1417796 w 1524000"/>
                <a:gd name="connsiteY6" fmla="*/ 7144 h 323850"/>
                <a:gd name="connsiteX7" fmla="*/ 1521619 w 1524000"/>
                <a:gd name="connsiteY7" fmla="*/ 114776 h 323850"/>
                <a:gd name="connsiteX8" fmla="*/ 1521619 w 1524000"/>
                <a:gd name="connsiteY8" fmla="*/ 21574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0" h="323850">
                  <a:moveTo>
                    <a:pt x="1521619" y="215741"/>
                  </a:moveTo>
                  <a:cubicBezTo>
                    <a:pt x="1521619" y="275749"/>
                    <a:pt x="1474946" y="323374"/>
                    <a:pt x="1417796" y="323374"/>
                  </a:cubicBezTo>
                  <a:lnTo>
                    <a:pt x="110966" y="323374"/>
                  </a:lnTo>
                  <a:cubicBezTo>
                    <a:pt x="53816" y="323374"/>
                    <a:pt x="7144" y="274796"/>
                    <a:pt x="7144" y="215741"/>
                  </a:cubicBezTo>
                  <a:lnTo>
                    <a:pt x="7144" y="114776"/>
                  </a:lnTo>
                  <a:cubicBezTo>
                    <a:pt x="7144" y="54769"/>
                    <a:pt x="52864" y="7144"/>
                    <a:pt x="110966" y="7144"/>
                  </a:cubicBezTo>
                  <a:lnTo>
                    <a:pt x="1417796" y="7144"/>
                  </a:lnTo>
                  <a:cubicBezTo>
                    <a:pt x="1474946" y="7144"/>
                    <a:pt x="1521619" y="55721"/>
                    <a:pt x="1521619" y="114776"/>
                  </a:cubicBezTo>
                  <a:lnTo>
                    <a:pt x="1521619" y="215741"/>
                  </a:lnTo>
                  <a:close/>
                </a:path>
              </a:pathLst>
            </a:custGeom>
            <a:solidFill>
              <a:srgbClr val="00314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DC63AFAF-5A9F-47E0-AB3C-F929E8AF43D4}"/>
                </a:ext>
              </a:extLst>
            </p:cNvPr>
            <p:cNvSpPr/>
            <p:nvPr/>
          </p:nvSpPr>
          <p:spPr>
            <a:xfrm>
              <a:off x="7276517" y="1352644"/>
              <a:ext cx="1609965" cy="374923"/>
            </a:xfrm>
            <a:custGeom>
              <a:avLst/>
              <a:gdLst>
                <a:gd name="connsiteX0" fmla="*/ 1391126 w 1390650"/>
                <a:gd name="connsiteY0" fmla="*/ 215741 h 323850"/>
                <a:gd name="connsiteX1" fmla="*/ 1295876 w 1390650"/>
                <a:gd name="connsiteY1" fmla="*/ 323374 h 323850"/>
                <a:gd name="connsiteX2" fmla="*/ 102394 w 1390650"/>
                <a:gd name="connsiteY2" fmla="*/ 323374 h 323850"/>
                <a:gd name="connsiteX3" fmla="*/ 7144 w 1390650"/>
                <a:gd name="connsiteY3" fmla="*/ 215741 h 323850"/>
                <a:gd name="connsiteX4" fmla="*/ 7144 w 1390650"/>
                <a:gd name="connsiteY4" fmla="*/ 114776 h 323850"/>
                <a:gd name="connsiteX5" fmla="*/ 102394 w 1390650"/>
                <a:gd name="connsiteY5" fmla="*/ 7144 h 323850"/>
                <a:gd name="connsiteX6" fmla="*/ 1295876 w 1390650"/>
                <a:gd name="connsiteY6" fmla="*/ 7144 h 323850"/>
                <a:gd name="connsiteX7" fmla="*/ 1391126 w 1390650"/>
                <a:gd name="connsiteY7" fmla="*/ 114776 h 323850"/>
                <a:gd name="connsiteX8" fmla="*/ 1391126 w 1390650"/>
                <a:gd name="connsiteY8" fmla="*/ 21574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0650" h="323850">
                  <a:moveTo>
                    <a:pt x="1391126" y="215741"/>
                  </a:moveTo>
                  <a:cubicBezTo>
                    <a:pt x="1391126" y="275749"/>
                    <a:pt x="1348264" y="323374"/>
                    <a:pt x="1295876" y="323374"/>
                  </a:cubicBezTo>
                  <a:lnTo>
                    <a:pt x="102394" y="323374"/>
                  </a:lnTo>
                  <a:cubicBezTo>
                    <a:pt x="50006" y="323374"/>
                    <a:pt x="7144" y="274796"/>
                    <a:pt x="7144" y="215741"/>
                  </a:cubicBezTo>
                  <a:lnTo>
                    <a:pt x="7144" y="114776"/>
                  </a:lnTo>
                  <a:cubicBezTo>
                    <a:pt x="7144" y="54769"/>
                    <a:pt x="50006" y="7144"/>
                    <a:pt x="102394" y="7144"/>
                  </a:cubicBezTo>
                  <a:lnTo>
                    <a:pt x="1295876" y="7144"/>
                  </a:lnTo>
                  <a:cubicBezTo>
                    <a:pt x="1348264" y="7144"/>
                    <a:pt x="1391126" y="55721"/>
                    <a:pt x="1391126" y="114776"/>
                  </a:cubicBezTo>
                  <a:lnTo>
                    <a:pt x="1391126" y="215741"/>
                  </a:lnTo>
                  <a:close/>
                </a:path>
              </a:pathLst>
            </a:custGeom>
            <a:solidFill>
              <a:srgbClr val="00314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80CE0D4-DC0A-42C5-A8A7-F43F09022523}"/>
                </a:ext>
              </a:extLst>
            </p:cNvPr>
            <p:cNvSpPr/>
            <p:nvPr/>
          </p:nvSpPr>
          <p:spPr>
            <a:xfrm>
              <a:off x="7353707" y="939125"/>
              <a:ext cx="1455585" cy="374923"/>
            </a:xfrm>
            <a:custGeom>
              <a:avLst/>
              <a:gdLst>
                <a:gd name="connsiteX0" fmla="*/ 1258729 w 1257300"/>
                <a:gd name="connsiteY0" fmla="*/ 215741 h 323850"/>
                <a:gd name="connsiteX1" fmla="*/ 1173004 w 1257300"/>
                <a:gd name="connsiteY1" fmla="*/ 323374 h 323850"/>
                <a:gd name="connsiteX2" fmla="*/ 92869 w 1257300"/>
                <a:gd name="connsiteY2" fmla="*/ 323374 h 323850"/>
                <a:gd name="connsiteX3" fmla="*/ 7144 w 1257300"/>
                <a:gd name="connsiteY3" fmla="*/ 215741 h 323850"/>
                <a:gd name="connsiteX4" fmla="*/ 7144 w 1257300"/>
                <a:gd name="connsiteY4" fmla="*/ 114776 h 323850"/>
                <a:gd name="connsiteX5" fmla="*/ 92869 w 1257300"/>
                <a:gd name="connsiteY5" fmla="*/ 7144 h 323850"/>
                <a:gd name="connsiteX6" fmla="*/ 1173004 w 1257300"/>
                <a:gd name="connsiteY6" fmla="*/ 7144 h 323850"/>
                <a:gd name="connsiteX7" fmla="*/ 1258729 w 1257300"/>
                <a:gd name="connsiteY7" fmla="*/ 114776 h 323850"/>
                <a:gd name="connsiteX8" fmla="*/ 1258729 w 1257300"/>
                <a:gd name="connsiteY8" fmla="*/ 21574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7300" h="323850">
                  <a:moveTo>
                    <a:pt x="1258729" y="215741"/>
                  </a:moveTo>
                  <a:cubicBezTo>
                    <a:pt x="1258729" y="275749"/>
                    <a:pt x="1220629" y="323374"/>
                    <a:pt x="1173004" y="323374"/>
                  </a:cubicBezTo>
                  <a:lnTo>
                    <a:pt x="92869" y="323374"/>
                  </a:lnTo>
                  <a:cubicBezTo>
                    <a:pt x="45244" y="323374"/>
                    <a:pt x="7144" y="274796"/>
                    <a:pt x="7144" y="215741"/>
                  </a:cubicBezTo>
                  <a:lnTo>
                    <a:pt x="7144" y="114776"/>
                  </a:lnTo>
                  <a:cubicBezTo>
                    <a:pt x="7144" y="54769"/>
                    <a:pt x="45244" y="7144"/>
                    <a:pt x="92869" y="7144"/>
                  </a:cubicBezTo>
                  <a:lnTo>
                    <a:pt x="1173004" y="7144"/>
                  </a:lnTo>
                  <a:cubicBezTo>
                    <a:pt x="1220629" y="7144"/>
                    <a:pt x="1258729" y="55721"/>
                    <a:pt x="1258729" y="114776"/>
                  </a:cubicBezTo>
                  <a:lnTo>
                    <a:pt x="1258729" y="215741"/>
                  </a:lnTo>
                  <a:close/>
                </a:path>
              </a:pathLst>
            </a:custGeom>
            <a:solidFill>
              <a:srgbClr val="00314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3FCDFC4-03BB-49AC-BF87-547D2F22830D}"/>
                </a:ext>
              </a:extLst>
            </p:cNvPr>
            <p:cNvSpPr/>
            <p:nvPr/>
          </p:nvSpPr>
          <p:spPr>
            <a:xfrm>
              <a:off x="7353707" y="5874881"/>
              <a:ext cx="1455585" cy="374923"/>
            </a:xfrm>
            <a:custGeom>
              <a:avLst/>
              <a:gdLst>
                <a:gd name="connsiteX0" fmla="*/ 1258729 w 1257300"/>
                <a:gd name="connsiteY0" fmla="*/ 215741 h 323850"/>
                <a:gd name="connsiteX1" fmla="*/ 1173004 w 1257300"/>
                <a:gd name="connsiteY1" fmla="*/ 323374 h 323850"/>
                <a:gd name="connsiteX2" fmla="*/ 92869 w 1257300"/>
                <a:gd name="connsiteY2" fmla="*/ 323374 h 323850"/>
                <a:gd name="connsiteX3" fmla="*/ 7144 w 1257300"/>
                <a:gd name="connsiteY3" fmla="*/ 215741 h 323850"/>
                <a:gd name="connsiteX4" fmla="*/ 7144 w 1257300"/>
                <a:gd name="connsiteY4" fmla="*/ 114776 h 323850"/>
                <a:gd name="connsiteX5" fmla="*/ 92869 w 1257300"/>
                <a:gd name="connsiteY5" fmla="*/ 7144 h 323850"/>
                <a:gd name="connsiteX6" fmla="*/ 1173004 w 1257300"/>
                <a:gd name="connsiteY6" fmla="*/ 7144 h 323850"/>
                <a:gd name="connsiteX7" fmla="*/ 1258729 w 1257300"/>
                <a:gd name="connsiteY7" fmla="*/ 114776 h 323850"/>
                <a:gd name="connsiteX8" fmla="*/ 1258729 w 1257300"/>
                <a:gd name="connsiteY8" fmla="*/ 21574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7300" h="323850">
                  <a:moveTo>
                    <a:pt x="1258729" y="215741"/>
                  </a:moveTo>
                  <a:cubicBezTo>
                    <a:pt x="1258729" y="275749"/>
                    <a:pt x="1220629" y="323374"/>
                    <a:pt x="1173004" y="323374"/>
                  </a:cubicBezTo>
                  <a:lnTo>
                    <a:pt x="92869" y="323374"/>
                  </a:lnTo>
                  <a:cubicBezTo>
                    <a:pt x="45244" y="323374"/>
                    <a:pt x="7144" y="274796"/>
                    <a:pt x="7144" y="215741"/>
                  </a:cubicBezTo>
                  <a:lnTo>
                    <a:pt x="7144" y="114776"/>
                  </a:lnTo>
                  <a:cubicBezTo>
                    <a:pt x="7144" y="54769"/>
                    <a:pt x="45244" y="7144"/>
                    <a:pt x="92869" y="7144"/>
                  </a:cubicBezTo>
                  <a:lnTo>
                    <a:pt x="1173004" y="7144"/>
                  </a:lnTo>
                  <a:cubicBezTo>
                    <a:pt x="1220629" y="7144"/>
                    <a:pt x="1258729" y="55721"/>
                    <a:pt x="1258729" y="114776"/>
                  </a:cubicBezTo>
                  <a:lnTo>
                    <a:pt x="1258729" y="215741"/>
                  </a:lnTo>
                  <a:close/>
                </a:path>
              </a:pathLst>
            </a:custGeom>
            <a:solidFill>
              <a:srgbClr val="00314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2BC91F4-A2F6-4D69-8DEB-F622EC97547C}"/>
                </a:ext>
              </a:extLst>
            </p:cNvPr>
            <p:cNvSpPr/>
            <p:nvPr/>
          </p:nvSpPr>
          <p:spPr>
            <a:xfrm>
              <a:off x="7276517" y="5461363"/>
              <a:ext cx="1609965" cy="374923"/>
            </a:xfrm>
            <a:custGeom>
              <a:avLst/>
              <a:gdLst>
                <a:gd name="connsiteX0" fmla="*/ 1391126 w 1390650"/>
                <a:gd name="connsiteY0" fmla="*/ 215741 h 323850"/>
                <a:gd name="connsiteX1" fmla="*/ 1295876 w 1390650"/>
                <a:gd name="connsiteY1" fmla="*/ 323374 h 323850"/>
                <a:gd name="connsiteX2" fmla="*/ 102394 w 1390650"/>
                <a:gd name="connsiteY2" fmla="*/ 323374 h 323850"/>
                <a:gd name="connsiteX3" fmla="*/ 7144 w 1390650"/>
                <a:gd name="connsiteY3" fmla="*/ 215741 h 323850"/>
                <a:gd name="connsiteX4" fmla="*/ 7144 w 1390650"/>
                <a:gd name="connsiteY4" fmla="*/ 114776 h 323850"/>
                <a:gd name="connsiteX5" fmla="*/ 102394 w 1390650"/>
                <a:gd name="connsiteY5" fmla="*/ 7144 h 323850"/>
                <a:gd name="connsiteX6" fmla="*/ 1295876 w 1390650"/>
                <a:gd name="connsiteY6" fmla="*/ 7144 h 323850"/>
                <a:gd name="connsiteX7" fmla="*/ 1391126 w 1390650"/>
                <a:gd name="connsiteY7" fmla="*/ 114776 h 323850"/>
                <a:gd name="connsiteX8" fmla="*/ 1391126 w 1390650"/>
                <a:gd name="connsiteY8" fmla="*/ 21574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90650" h="323850">
                  <a:moveTo>
                    <a:pt x="1391126" y="215741"/>
                  </a:moveTo>
                  <a:cubicBezTo>
                    <a:pt x="1391126" y="275749"/>
                    <a:pt x="1348264" y="323374"/>
                    <a:pt x="1295876" y="323374"/>
                  </a:cubicBezTo>
                  <a:lnTo>
                    <a:pt x="102394" y="323374"/>
                  </a:lnTo>
                  <a:cubicBezTo>
                    <a:pt x="50006" y="323374"/>
                    <a:pt x="7144" y="274796"/>
                    <a:pt x="7144" y="215741"/>
                  </a:cubicBezTo>
                  <a:lnTo>
                    <a:pt x="7144" y="114776"/>
                  </a:lnTo>
                  <a:cubicBezTo>
                    <a:pt x="7144" y="54769"/>
                    <a:pt x="50006" y="7144"/>
                    <a:pt x="102394" y="7144"/>
                  </a:cubicBezTo>
                  <a:lnTo>
                    <a:pt x="1295876" y="7144"/>
                  </a:lnTo>
                  <a:cubicBezTo>
                    <a:pt x="1348264" y="7144"/>
                    <a:pt x="1391126" y="55721"/>
                    <a:pt x="1391126" y="114776"/>
                  </a:cubicBezTo>
                  <a:lnTo>
                    <a:pt x="1391126" y="215741"/>
                  </a:lnTo>
                  <a:close/>
                </a:path>
              </a:pathLst>
            </a:custGeom>
            <a:solidFill>
              <a:srgbClr val="00314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F7A92B3-AB37-4944-88BB-8F3F15F37AE8}"/>
                </a:ext>
              </a:extLst>
            </p:cNvPr>
            <p:cNvSpPr/>
            <p:nvPr/>
          </p:nvSpPr>
          <p:spPr>
            <a:xfrm>
              <a:off x="7201532" y="5047844"/>
              <a:ext cx="1764345" cy="374923"/>
            </a:xfrm>
            <a:custGeom>
              <a:avLst/>
              <a:gdLst>
                <a:gd name="connsiteX0" fmla="*/ 1521619 w 1524000"/>
                <a:gd name="connsiteY0" fmla="*/ 215741 h 323850"/>
                <a:gd name="connsiteX1" fmla="*/ 1417796 w 1524000"/>
                <a:gd name="connsiteY1" fmla="*/ 323374 h 323850"/>
                <a:gd name="connsiteX2" fmla="*/ 110966 w 1524000"/>
                <a:gd name="connsiteY2" fmla="*/ 323374 h 323850"/>
                <a:gd name="connsiteX3" fmla="*/ 7144 w 1524000"/>
                <a:gd name="connsiteY3" fmla="*/ 215741 h 323850"/>
                <a:gd name="connsiteX4" fmla="*/ 7144 w 1524000"/>
                <a:gd name="connsiteY4" fmla="*/ 114776 h 323850"/>
                <a:gd name="connsiteX5" fmla="*/ 110966 w 1524000"/>
                <a:gd name="connsiteY5" fmla="*/ 7144 h 323850"/>
                <a:gd name="connsiteX6" fmla="*/ 1417796 w 1524000"/>
                <a:gd name="connsiteY6" fmla="*/ 7144 h 323850"/>
                <a:gd name="connsiteX7" fmla="*/ 1521619 w 1524000"/>
                <a:gd name="connsiteY7" fmla="*/ 114776 h 323850"/>
                <a:gd name="connsiteX8" fmla="*/ 1521619 w 1524000"/>
                <a:gd name="connsiteY8" fmla="*/ 21574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24000" h="323850">
                  <a:moveTo>
                    <a:pt x="1521619" y="215741"/>
                  </a:moveTo>
                  <a:cubicBezTo>
                    <a:pt x="1521619" y="275749"/>
                    <a:pt x="1474946" y="323374"/>
                    <a:pt x="1417796" y="323374"/>
                  </a:cubicBezTo>
                  <a:lnTo>
                    <a:pt x="110966" y="323374"/>
                  </a:lnTo>
                  <a:cubicBezTo>
                    <a:pt x="53816" y="323374"/>
                    <a:pt x="7144" y="274796"/>
                    <a:pt x="7144" y="215741"/>
                  </a:cubicBezTo>
                  <a:lnTo>
                    <a:pt x="7144" y="114776"/>
                  </a:lnTo>
                  <a:cubicBezTo>
                    <a:pt x="7144" y="54769"/>
                    <a:pt x="53816" y="7144"/>
                    <a:pt x="110966" y="7144"/>
                  </a:cubicBezTo>
                  <a:lnTo>
                    <a:pt x="1417796" y="7144"/>
                  </a:lnTo>
                  <a:cubicBezTo>
                    <a:pt x="1474946" y="7144"/>
                    <a:pt x="1521619" y="55721"/>
                    <a:pt x="1521619" y="114776"/>
                  </a:cubicBezTo>
                  <a:lnTo>
                    <a:pt x="1521619" y="215741"/>
                  </a:lnTo>
                  <a:close/>
                </a:path>
              </a:pathLst>
            </a:custGeom>
            <a:solidFill>
              <a:srgbClr val="00314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2" name="Text">
            <a:extLst>
              <a:ext uri="{FF2B5EF4-FFF2-40B4-BE49-F238E27FC236}">
                <a16:creationId xmlns:a16="http://schemas.microsoft.com/office/drawing/2014/main" id="{655357FA-C2B7-41A4-8241-0CBE492E6021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725109" y="1055017"/>
            <a:ext cx="6389859" cy="9270375"/>
          </a:xfrm>
        </p:spPr>
        <p:txBody>
          <a:bodyPr/>
          <a:lstStyle>
            <a:lvl1pPr>
              <a:spcBef>
                <a:spcPts val="989"/>
              </a:spcBef>
              <a:spcAft>
                <a:spcPts val="989"/>
              </a:spcAft>
              <a:defRPr/>
            </a:lvl1pPr>
            <a:lvl2pPr>
              <a:spcBef>
                <a:spcPts val="989"/>
              </a:spcBef>
              <a:spcAft>
                <a:spcPts val="989"/>
              </a:spcAft>
              <a:defRPr/>
            </a:lvl2pPr>
            <a:lvl3pPr>
              <a:spcBef>
                <a:spcPts val="989"/>
              </a:spcBef>
              <a:spcAft>
                <a:spcPts val="989"/>
              </a:spcAft>
              <a:defRPr/>
            </a:lvl3pPr>
            <a:lvl4pPr>
              <a:spcBef>
                <a:spcPts val="989"/>
              </a:spcBef>
              <a:spcAft>
                <a:spcPts val="989"/>
              </a:spcAft>
              <a:defRPr/>
            </a:lvl4pPr>
            <a:lvl5pPr>
              <a:spcBef>
                <a:spcPts val="989"/>
              </a:spcBef>
              <a:spcAft>
                <a:spcPts val="989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Video Placeholder">
            <a:extLst>
              <a:ext uri="{FF2B5EF4-FFF2-40B4-BE49-F238E27FC236}">
                <a16:creationId xmlns:a16="http://schemas.microsoft.com/office/drawing/2014/main" id="{A29722D6-2300-4B72-A95B-C8FCBE13658E}"/>
              </a:ext>
            </a:extLst>
          </p:cNvPr>
          <p:cNvSpPr>
            <a:spLocks noGrp="1"/>
          </p:cNvSpPr>
          <p:nvPr userDrawn="1">
            <p:ph type="media" sz="quarter" idx="14"/>
            <p:custDataLst>
              <p:tags r:id="rId1"/>
            </p:custDataLst>
          </p:nvPr>
        </p:nvSpPr>
        <p:spPr>
          <a:xfrm>
            <a:off x="11735016" y="3956790"/>
            <a:ext cx="3181830" cy="3710417"/>
          </a:xfrm>
          <a:prstGeom prst="roundRect">
            <a:avLst/>
          </a:prstGeom>
          <a:solidFill>
            <a:schemeClr val="bg1"/>
          </a:solidFill>
        </p:spPr>
        <p:txBody>
          <a:bodyPr/>
          <a:lstStyle/>
          <a:p>
            <a:r>
              <a:rPr lang="en-US"/>
              <a:t>Click icon to add medi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079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07C0259-E32D-9098-3B0A-5ADE9BE2B8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840938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07C0259-E32D-9098-3B0A-5ADE9BE2B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4" descr="Ein Bild, das draußen enthält.&#10;&#10;Automatisch generierte Beschreibung">
            <a:extLst>
              <a:ext uri="{FF2B5EF4-FFF2-40B4-BE49-F238E27FC236}">
                <a16:creationId xmlns:a16="http://schemas.microsoft.com/office/drawing/2014/main" id="{20020465-8E2E-4369-8CD3-CA0A300A70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84" t="14915" r="11332" b="10783"/>
          <a:stretch/>
        </p:blipFill>
        <p:spPr>
          <a:xfrm>
            <a:off x="2" y="-1"/>
            <a:ext cx="20104100" cy="113093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B034D89-F1D1-2FB2-FFD7-93B2BD81C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6631" y="510844"/>
            <a:ext cx="6690358" cy="630942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bg object 17">
            <a:extLst>
              <a:ext uri="{FF2B5EF4-FFF2-40B4-BE49-F238E27FC236}">
                <a16:creationId xmlns:a16="http://schemas.microsoft.com/office/drawing/2014/main" id="{88899C90-E65D-9DF0-1133-F5A6AE4D1A6E}"/>
              </a:ext>
            </a:extLst>
          </p:cNvPr>
          <p:cNvSpPr/>
          <p:nvPr userDrawn="1"/>
        </p:nvSpPr>
        <p:spPr>
          <a:xfrm>
            <a:off x="837670" y="523545"/>
            <a:ext cx="157480" cy="1151890"/>
          </a:xfrm>
          <a:custGeom>
            <a:avLst/>
            <a:gdLst/>
            <a:ahLst/>
            <a:cxnLst/>
            <a:rect l="l" t="t" r="r" b="b"/>
            <a:pathLst>
              <a:path w="157480" h="1151889">
                <a:moveTo>
                  <a:pt x="0" y="1151797"/>
                </a:moveTo>
                <a:lnTo>
                  <a:pt x="157063" y="1151797"/>
                </a:lnTo>
                <a:lnTo>
                  <a:pt x="157063" y="0"/>
                </a:lnTo>
                <a:lnTo>
                  <a:pt x="0" y="0"/>
                </a:lnTo>
                <a:lnTo>
                  <a:pt x="0" y="115179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sz="1801"/>
          </a:p>
        </p:txBody>
      </p:sp>
    </p:spTree>
    <p:extLst>
      <p:ext uri="{BB962C8B-B14F-4D97-AF65-F5344CB8AC3E}">
        <p14:creationId xmlns:p14="http://schemas.microsoft.com/office/powerpoint/2010/main" val="31768844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 tim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31">
            <a:extLst>
              <a:ext uri="{FF2B5EF4-FFF2-40B4-BE49-F238E27FC236}">
                <a16:creationId xmlns:a16="http://schemas.microsoft.com/office/drawing/2014/main" id="{F95DEC9C-58F3-4C95-A7E6-0DE5EB0367B9}"/>
              </a:ext>
            </a:extLst>
          </p:cNvPr>
          <p:cNvSpPr>
            <a:spLocks noChangeShapeType="1"/>
          </p:cNvSpPr>
          <p:nvPr userDrawn="1"/>
        </p:nvSpPr>
        <p:spPr bwMode="white">
          <a:xfrm>
            <a:off x="724702" y="712400"/>
            <a:ext cx="18654700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968"/>
          </a:p>
        </p:txBody>
      </p:sp>
      <p:sp>
        <p:nvSpPr>
          <p:cNvPr id="8" name="Line 31">
            <a:extLst>
              <a:ext uri="{FF2B5EF4-FFF2-40B4-BE49-F238E27FC236}">
                <a16:creationId xmlns:a16="http://schemas.microsoft.com/office/drawing/2014/main" id="{153B1FF1-414A-4719-96AA-A7A333EAA173}"/>
              </a:ext>
            </a:extLst>
          </p:cNvPr>
          <p:cNvSpPr>
            <a:spLocks noChangeShapeType="1"/>
          </p:cNvSpPr>
          <p:nvPr userDrawn="1"/>
        </p:nvSpPr>
        <p:spPr bwMode="white">
          <a:xfrm>
            <a:off x="724702" y="10596950"/>
            <a:ext cx="18654700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968"/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E4D81F45-1817-43C1-9427-B23AC71A2FE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6540805" y="8492909"/>
            <a:ext cx="2837610" cy="2102179"/>
          </a:xfrm>
          <a:custGeom>
            <a:avLst/>
            <a:gdLst>
              <a:gd name="T0" fmla="*/ 78 w 521"/>
              <a:gd name="T1" fmla="*/ 386 h 386"/>
              <a:gd name="T2" fmla="*/ 350 w 521"/>
              <a:gd name="T3" fmla="*/ 386 h 386"/>
              <a:gd name="T4" fmla="*/ 427 w 521"/>
              <a:gd name="T5" fmla="*/ 244 h 386"/>
              <a:gd name="T6" fmla="*/ 427 w 521"/>
              <a:gd name="T7" fmla="*/ 188 h 386"/>
              <a:gd name="T8" fmla="*/ 521 w 521"/>
              <a:gd name="T9" fmla="*/ 94 h 386"/>
              <a:gd name="T10" fmla="*/ 427 w 521"/>
              <a:gd name="T11" fmla="*/ 0 h 386"/>
              <a:gd name="T12" fmla="*/ 0 w 521"/>
              <a:gd name="T13" fmla="*/ 0 h 386"/>
              <a:gd name="T14" fmla="*/ 0 w 521"/>
              <a:gd name="T15" fmla="*/ 244 h 386"/>
              <a:gd name="T16" fmla="*/ 78 w 521"/>
              <a:gd name="T17" fmla="*/ 386 h 386"/>
              <a:gd name="T18" fmla="*/ 427 w 521"/>
              <a:gd name="T19" fmla="*/ 61 h 386"/>
              <a:gd name="T20" fmla="*/ 460 w 521"/>
              <a:gd name="T21" fmla="*/ 94 h 386"/>
              <a:gd name="T22" fmla="*/ 427 w 521"/>
              <a:gd name="T23" fmla="*/ 127 h 386"/>
              <a:gd name="T24" fmla="*/ 427 w 521"/>
              <a:gd name="T25" fmla="*/ 61 h 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1" h="386">
                <a:moveTo>
                  <a:pt x="78" y="386"/>
                </a:moveTo>
                <a:cubicBezTo>
                  <a:pt x="350" y="386"/>
                  <a:pt x="350" y="386"/>
                  <a:pt x="350" y="386"/>
                </a:cubicBezTo>
                <a:cubicBezTo>
                  <a:pt x="392" y="352"/>
                  <a:pt x="421" y="301"/>
                  <a:pt x="427" y="244"/>
                </a:cubicBezTo>
                <a:cubicBezTo>
                  <a:pt x="427" y="188"/>
                  <a:pt x="427" y="188"/>
                  <a:pt x="427" y="188"/>
                </a:cubicBezTo>
                <a:cubicBezTo>
                  <a:pt x="479" y="188"/>
                  <a:pt x="521" y="146"/>
                  <a:pt x="521" y="94"/>
                </a:cubicBezTo>
                <a:cubicBezTo>
                  <a:pt x="521" y="42"/>
                  <a:pt x="479" y="0"/>
                  <a:pt x="42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44"/>
                  <a:pt x="0" y="244"/>
                  <a:pt x="0" y="244"/>
                </a:cubicBezTo>
                <a:cubicBezTo>
                  <a:pt x="7" y="301"/>
                  <a:pt x="36" y="352"/>
                  <a:pt x="78" y="386"/>
                </a:cubicBezTo>
                <a:close/>
                <a:moveTo>
                  <a:pt x="427" y="61"/>
                </a:moveTo>
                <a:cubicBezTo>
                  <a:pt x="445" y="61"/>
                  <a:pt x="460" y="76"/>
                  <a:pt x="460" y="94"/>
                </a:cubicBezTo>
                <a:cubicBezTo>
                  <a:pt x="460" y="113"/>
                  <a:pt x="445" y="127"/>
                  <a:pt x="427" y="127"/>
                </a:cubicBezTo>
                <a:lnTo>
                  <a:pt x="427" y="61"/>
                </a:lnTo>
                <a:close/>
              </a:path>
            </a:pathLst>
          </a:custGeom>
          <a:solidFill>
            <a:srgbClr val="0096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3" name="Freeform 6">
            <a:extLst>
              <a:ext uri="{FF2B5EF4-FFF2-40B4-BE49-F238E27FC236}">
                <a16:creationId xmlns:a16="http://schemas.microsoft.com/office/drawing/2014/main" id="{82CFDEA6-F3EF-43FA-87F9-740CF1C9B2E8}"/>
              </a:ext>
            </a:extLst>
          </p:cNvPr>
          <p:cNvSpPr>
            <a:spLocks/>
          </p:cNvSpPr>
          <p:nvPr userDrawn="1"/>
        </p:nvSpPr>
        <p:spPr bwMode="auto">
          <a:xfrm>
            <a:off x="14517306" y="6835774"/>
            <a:ext cx="2656988" cy="604737"/>
          </a:xfrm>
          <a:custGeom>
            <a:avLst/>
            <a:gdLst>
              <a:gd name="T0" fmla="*/ 472 w 488"/>
              <a:gd name="T1" fmla="*/ 63 h 111"/>
              <a:gd name="T2" fmla="*/ 465 w 488"/>
              <a:gd name="T3" fmla="*/ 63 h 111"/>
              <a:gd name="T4" fmla="*/ 462 w 488"/>
              <a:gd name="T5" fmla="*/ 7 h 111"/>
              <a:gd name="T6" fmla="*/ 455 w 488"/>
              <a:gd name="T7" fmla="*/ 0 h 111"/>
              <a:gd name="T8" fmla="*/ 37 w 488"/>
              <a:gd name="T9" fmla="*/ 2 h 111"/>
              <a:gd name="T10" fmla="*/ 30 w 488"/>
              <a:gd name="T11" fmla="*/ 8 h 111"/>
              <a:gd name="T12" fmla="*/ 27 w 488"/>
              <a:gd name="T13" fmla="*/ 65 h 111"/>
              <a:gd name="T14" fmla="*/ 16 w 488"/>
              <a:gd name="T15" fmla="*/ 65 h 111"/>
              <a:gd name="T16" fmla="*/ 0 w 488"/>
              <a:gd name="T17" fmla="*/ 81 h 111"/>
              <a:gd name="T18" fmla="*/ 0 w 488"/>
              <a:gd name="T19" fmla="*/ 95 h 111"/>
              <a:gd name="T20" fmla="*/ 16 w 488"/>
              <a:gd name="T21" fmla="*/ 111 h 111"/>
              <a:gd name="T22" fmla="*/ 472 w 488"/>
              <a:gd name="T23" fmla="*/ 109 h 111"/>
              <a:gd name="T24" fmla="*/ 488 w 488"/>
              <a:gd name="T25" fmla="*/ 93 h 111"/>
              <a:gd name="T26" fmla="*/ 488 w 488"/>
              <a:gd name="T27" fmla="*/ 79 h 111"/>
              <a:gd name="T28" fmla="*/ 472 w 488"/>
              <a:gd name="T29" fmla="*/ 63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88" h="111">
                <a:moveTo>
                  <a:pt x="472" y="63"/>
                </a:moveTo>
                <a:cubicBezTo>
                  <a:pt x="465" y="63"/>
                  <a:pt x="465" y="63"/>
                  <a:pt x="465" y="63"/>
                </a:cubicBezTo>
                <a:cubicBezTo>
                  <a:pt x="462" y="7"/>
                  <a:pt x="462" y="7"/>
                  <a:pt x="462" y="7"/>
                </a:cubicBezTo>
                <a:cubicBezTo>
                  <a:pt x="462" y="3"/>
                  <a:pt x="459" y="0"/>
                  <a:pt x="455" y="0"/>
                </a:cubicBezTo>
                <a:cubicBezTo>
                  <a:pt x="37" y="2"/>
                  <a:pt x="37" y="2"/>
                  <a:pt x="37" y="2"/>
                </a:cubicBezTo>
                <a:cubicBezTo>
                  <a:pt x="33" y="2"/>
                  <a:pt x="30" y="5"/>
                  <a:pt x="30" y="8"/>
                </a:cubicBezTo>
                <a:cubicBezTo>
                  <a:pt x="27" y="65"/>
                  <a:pt x="27" y="65"/>
                  <a:pt x="27" y="65"/>
                </a:cubicBezTo>
                <a:cubicBezTo>
                  <a:pt x="16" y="65"/>
                  <a:pt x="16" y="65"/>
                  <a:pt x="16" y="65"/>
                </a:cubicBezTo>
                <a:cubicBezTo>
                  <a:pt x="7" y="65"/>
                  <a:pt x="0" y="72"/>
                  <a:pt x="0" y="81"/>
                </a:cubicBezTo>
                <a:cubicBezTo>
                  <a:pt x="0" y="95"/>
                  <a:pt x="0" y="95"/>
                  <a:pt x="0" y="95"/>
                </a:cubicBezTo>
                <a:cubicBezTo>
                  <a:pt x="0" y="104"/>
                  <a:pt x="7" y="111"/>
                  <a:pt x="16" y="111"/>
                </a:cubicBezTo>
                <a:cubicBezTo>
                  <a:pt x="472" y="109"/>
                  <a:pt x="472" y="109"/>
                  <a:pt x="472" y="109"/>
                </a:cubicBezTo>
                <a:cubicBezTo>
                  <a:pt x="481" y="109"/>
                  <a:pt x="488" y="102"/>
                  <a:pt x="488" y="93"/>
                </a:cubicBezTo>
                <a:cubicBezTo>
                  <a:pt x="488" y="79"/>
                  <a:pt x="488" y="79"/>
                  <a:pt x="488" y="79"/>
                </a:cubicBezTo>
                <a:cubicBezTo>
                  <a:pt x="488" y="70"/>
                  <a:pt x="481" y="63"/>
                  <a:pt x="472" y="63"/>
                </a:cubicBezTo>
                <a:close/>
              </a:path>
            </a:pathLst>
          </a:custGeom>
          <a:solidFill>
            <a:srgbClr val="B2241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4" name="Freeform 7">
            <a:extLst>
              <a:ext uri="{FF2B5EF4-FFF2-40B4-BE49-F238E27FC236}">
                <a16:creationId xmlns:a16="http://schemas.microsoft.com/office/drawing/2014/main" id="{541E8725-47CE-43B4-91BD-CBD08ECE0866}"/>
              </a:ext>
            </a:extLst>
          </p:cNvPr>
          <p:cNvSpPr>
            <a:spLocks/>
          </p:cNvSpPr>
          <p:nvPr userDrawn="1"/>
        </p:nvSpPr>
        <p:spPr bwMode="auto">
          <a:xfrm>
            <a:off x="14648192" y="7430039"/>
            <a:ext cx="2395216" cy="3165048"/>
          </a:xfrm>
          <a:custGeom>
            <a:avLst/>
            <a:gdLst>
              <a:gd name="T0" fmla="*/ 0 w 915"/>
              <a:gd name="T1" fmla="*/ 4 h 1209"/>
              <a:gd name="T2" fmla="*/ 112 w 915"/>
              <a:gd name="T3" fmla="*/ 1209 h 1209"/>
              <a:gd name="T4" fmla="*/ 813 w 915"/>
              <a:gd name="T5" fmla="*/ 1209 h 1209"/>
              <a:gd name="T6" fmla="*/ 915 w 915"/>
              <a:gd name="T7" fmla="*/ 0 h 1209"/>
              <a:gd name="T8" fmla="*/ 0 w 915"/>
              <a:gd name="T9" fmla="*/ 4 h 1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15" h="1209">
                <a:moveTo>
                  <a:pt x="0" y="4"/>
                </a:moveTo>
                <a:lnTo>
                  <a:pt x="112" y="1209"/>
                </a:lnTo>
                <a:lnTo>
                  <a:pt x="813" y="1209"/>
                </a:lnTo>
                <a:lnTo>
                  <a:pt x="915" y="0"/>
                </a:lnTo>
                <a:lnTo>
                  <a:pt x="0" y="4"/>
                </a:lnTo>
                <a:close/>
              </a:path>
            </a:pathLst>
          </a:custGeom>
          <a:solidFill>
            <a:srgbClr val="F8F7F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Freeform 8">
            <a:extLst>
              <a:ext uri="{FF2B5EF4-FFF2-40B4-BE49-F238E27FC236}">
                <a16:creationId xmlns:a16="http://schemas.microsoft.com/office/drawing/2014/main" id="{97AD8D8E-0628-4705-8ED9-697AD376B540}"/>
              </a:ext>
            </a:extLst>
          </p:cNvPr>
          <p:cNvSpPr>
            <a:spLocks/>
          </p:cNvSpPr>
          <p:nvPr userDrawn="1"/>
        </p:nvSpPr>
        <p:spPr bwMode="auto">
          <a:xfrm>
            <a:off x="14679604" y="8008595"/>
            <a:ext cx="2335007" cy="1458174"/>
          </a:xfrm>
          <a:custGeom>
            <a:avLst/>
            <a:gdLst>
              <a:gd name="T0" fmla="*/ 0 w 429"/>
              <a:gd name="T1" fmla="*/ 12 h 268"/>
              <a:gd name="T2" fmla="*/ 26 w 429"/>
              <a:gd name="T3" fmla="*/ 260 h 268"/>
              <a:gd name="T4" fmla="*/ 34 w 429"/>
              <a:gd name="T5" fmla="*/ 268 h 268"/>
              <a:gd name="T6" fmla="*/ 396 w 429"/>
              <a:gd name="T7" fmla="*/ 266 h 268"/>
              <a:gd name="T8" fmla="*/ 404 w 429"/>
              <a:gd name="T9" fmla="*/ 258 h 268"/>
              <a:gd name="T10" fmla="*/ 429 w 429"/>
              <a:gd name="T11" fmla="*/ 10 h 268"/>
              <a:gd name="T12" fmla="*/ 421 w 429"/>
              <a:gd name="T13" fmla="*/ 0 h 268"/>
              <a:gd name="T14" fmla="*/ 8 w 429"/>
              <a:gd name="T15" fmla="*/ 2 h 268"/>
              <a:gd name="T16" fmla="*/ 0 w 429"/>
              <a:gd name="T17" fmla="*/ 12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9" h="268">
                <a:moveTo>
                  <a:pt x="0" y="12"/>
                </a:moveTo>
                <a:cubicBezTo>
                  <a:pt x="26" y="260"/>
                  <a:pt x="26" y="260"/>
                  <a:pt x="26" y="260"/>
                </a:cubicBezTo>
                <a:cubicBezTo>
                  <a:pt x="27" y="264"/>
                  <a:pt x="30" y="268"/>
                  <a:pt x="34" y="268"/>
                </a:cubicBezTo>
                <a:cubicBezTo>
                  <a:pt x="396" y="266"/>
                  <a:pt x="396" y="266"/>
                  <a:pt x="396" y="266"/>
                </a:cubicBezTo>
                <a:cubicBezTo>
                  <a:pt x="400" y="266"/>
                  <a:pt x="403" y="263"/>
                  <a:pt x="404" y="258"/>
                </a:cubicBezTo>
                <a:cubicBezTo>
                  <a:pt x="429" y="10"/>
                  <a:pt x="429" y="10"/>
                  <a:pt x="429" y="10"/>
                </a:cubicBezTo>
                <a:cubicBezTo>
                  <a:pt x="429" y="5"/>
                  <a:pt x="426" y="0"/>
                  <a:pt x="421" y="0"/>
                </a:cubicBezTo>
                <a:cubicBezTo>
                  <a:pt x="8" y="2"/>
                  <a:pt x="8" y="2"/>
                  <a:pt x="8" y="2"/>
                </a:cubicBezTo>
                <a:cubicBezTo>
                  <a:pt x="3" y="2"/>
                  <a:pt x="0" y="7"/>
                  <a:pt x="0" y="12"/>
                </a:cubicBezTo>
                <a:close/>
              </a:path>
            </a:pathLst>
          </a:custGeom>
          <a:solidFill>
            <a:srgbClr val="A8A8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6" name="Freeform 9">
            <a:extLst>
              <a:ext uri="{FF2B5EF4-FFF2-40B4-BE49-F238E27FC236}">
                <a16:creationId xmlns:a16="http://schemas.microsoft.com/office/drawing/2014/main" id="{9B0C4DCE-187B-49E0-B901-949C698B817C}"/>
              </a:ext>
            </a:extLst>
          </p:cNvPr>
          <p:cNvSpPr>
            <a:spLocks/>
          </p:cNvSpPr>
          <p:nvPr userDrawn="1"/>
        </p:nvSpPr>
        <p:spPr bwMode="auto">
          <a:xfrm>
            <a:off x="13051382" y="7964091"/>
            <a:ext cx="1955439" cy="1329896"/>
          </a:xfrm>
          <a:custGeom>
            <a:avLst/>
            <a:gdLst>
              <a:gd name="T0" fmla="*/ 277 w 359"/>
              <a:gd name="T1" fmla="*/ 79 h 244"/>
              <a:gd name="T2" fmla="*/ 263 w 359"/>
              <a:gd name="T3" fmla="*/ 80 h 244"/>
              <a:gd name="T4" fmla="*/ 180 w 359"/>
              <a:gd name="T5" fmla="*/ 0 h 244"/>
              <a:gd name="T6" fmla="*/ 98 w 359"/>
              <a:gd name="T7" fmla="*/ 80 h 244"/>
              <a:gd name="T8" fmla="*/ 83 w 359"/>
              <a:gd name="T9" fmla="*/ 79 h 244"/>
              <a:gd name="T10" fmla="*/ 0 w 359"/>
              <a:gd name="T11" fmla="*/ 161 h 244"/>
              <a:gd name="T12" fmla="*/ 83 w 359"/>
              <a:gd name="T13" fmla="*/ 244 h 244"/>
              <a:gd name="T14" fmla="*/ 165 w 359"/>
              <a:gd name="T15" fmla="*/ 164 h 244"/>
              <a:gd name="T16" fmla="*/ 180 w 359"/>
              <a:gd name="T17" fmla="*/ 166 h 244"/>
              <a:gd name="T18" fmla="*/ 194 w 359"/>
              <a:gd name="T19" fmla="*/ 164 h 244"/>
              <a:gd name="T20" fmla="*/ 277 w 359"/>
              <a:gd name="T21" fmla="*/ 244 h 244"/>
              <a:gd name="T22" fmla="*/ 359 w 359"/>
              <a:gd name="T23" fmla="*/ 161 h 244"/>
              <a:gd name="T24" fmla="*/ 277 w 359"/>
              <a:gd name="T25" fmla="*/ 79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59" h="244">
                <a:moveTo>
                  <a:pt x="277" y="79"/>
                </a:moveTo>
                <a:cubicBezTo>
                  <a:pt x="272" y="79"/>
                  <a:pt x="267" y="79"/>
                  <a:pt x="263" y="80"/>
                </a:cubicBezTo>
                <a:cubicBezTo>
                  <a:pt x="261" y="36"/>
                  <a:pt x="225" y="0"/>
                  <a:pt x="180" y="0"/>
                </a:cubicBezTo>
                <a:cubicBezTo>
                  <a:pt x="135" y="0"/>
                  <a:pt x="99" y="36"/>
                  <a:pt x="98" y="80"/>
                </a:cubicBezTo>
                <a:cubicBezTo>
                  <a:pt x="93" y="79"/>
                  <a:pt x="88" y="79"/>
                  <a:pt x="83" y="79"/>
                </a:cubicBezTo>
                <a:cubicBezTo>
                  <a:pt x="37" y="79"/>
                  <a:pt x="0" y="116"/>
                  <a:pt x="0" y="161"/>
                </a:cubicBezTo>
                <a:cubicBezTo>
                  <a:pt x="0" y="207"/>
                  <a:pt x="37" y="244"/>
                  <a:pt x="83" y="244"/>
                </a:cubicBezTo>
                <a:cubicBezTo>
                  <a:pt x="127" y="244"/>
                  <a:pt x="164" y="208"/>
                  <a:pt x="165" y="164"/>
                </a:cubicBezTo>
                <a:cubicBezTo>
                  <a:pt x="170" y="165"/>
                  <a:pt x="175" y="166"/>
                  <a:pt x="180" y="166"/>
                </a:cubicBezTo>
                <a:cubicBezTo>
                  <a:pt x="185" y="166"/>
                  <a:pt x="190" y="165"/>
                  <a:pt x="194" y="164"/>
                </a:cubicBezTo>
                <a:cubicBezTo>
                  <a:pt x="196" y="209"/>
                  <a:pt x="232" y="244"/>
                  <a:pt x="277" y="244"/>
                </a:cubicBezTo>
                <a:cubicBezTo>
                  <a:pt x="322" y="244"/>
                  <a:pt x="359" y="207"/>
                  <a:pt x="359" y="161"/>
                </a:cubicBezTo>
                <a:cubicBezTo>
                  <a:pt x="359" y="116"/>
                  <a:pt x="322" y="79"/>
                  <a:pt x="277" y="7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" name="Freeform 10">
            <a:extLst>
              <a:ext uri="{FF2B5EF4-FFF2-40B4-BE49-F238E27FC236}">
                <a16:creationId xmlns:a16="http://schemas.microsoft.com/office/drawing/2014/main" id="{C70ADD52-36CE-4410-B027-2E3B08908EA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2627310" y="8830618"/>
            <a:ext cx="2379510" cy="1764468"/>
          </a:xfrm>
          <a:custGeom>
            <a:avLst/>
            <a:gdLst>
              <a:gd name="T0" fmla="*/ 437 w 437"/>
              <a:gd name="T1" fmla="*/ 205 h 324"/>
              <a:gd name="T2" fmla="*/ 437 w 437"/>
              <a:gd name="T3" fmla="*/ 0 h 324"/>
              <a:gd name="T4" fmla="*/ 79 w 437"/>
              <a:gd name="T5" fmla="*/ 0 h 324"/>
              <a:gd name="T6" fmla="*/ 0 w 437"/>
              <a:gd name="T7" fmla="*/ 79 h 324"/>
              <a:gd name="T8" fmla="*/ 79 w 437"/>
              <a:gd name="T9" fmla="*/ 158 h 324"/>
              <a:gd name="T10" fmla="*/ 79 w 437"/>
              <a:gd name="T11" fmla="*/ 205 h 324"/>
              <a:gd name="T12" fmla="*/ 144 w 437"/>
              <a:gd name="T13" fmla="*/ 324 h 324"/>
              <a:gd name="T14" fmla="*/ 372 w 437"/>
              <a:gd name="T15" fmla="*/ 324 h 324"/>
              <a:gd name="T16" fmla="*/ 437 w 437"/>
              <a:gd name="T17" fmla="*/ 205 h 324"/>
              <a:gd name="T18" fmla="*/ 79 w 437"/>
              <a:gd name="T19" fmla="*/ 107 h 324"/>
              <a:gd name="T20" fmla="*/ 51 w 437"/>
              <a:gd name="T21" fmla="*/ 79 h 324"/>
              <a:gd name="T22" fmla="*/ 79 w 437"/>
              <a:gd name="T23" fmla="*/ 51 h 324"/>
              <a:gd name="T24" fmla="*/ 79 w 437"/>
              <a:gd name="T25" fmla="*/ 107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37" h="324">
                <a:moveTo>
                  <a:pt x="437" y="205"/>
                </a:moveTo>
                <a:cubicBezTo>
                  <a:pt x="437" y="0"/>
                  <a:pt x="437" y="0"/>
                  <a:pt x="437" y="0"/>
                </a:cubicBezTo>
                <a:cubicBezTo>
                  <a:pt x="79" y="0"/>
                  <a:pt x="79" y="0"/>
                  <a:pt x="79" y="0"/>
                </a:cubicBezTo>
                <a:cubicBezTo>
                  <a:pt x="35" y="0"/>
                  <a:pt x="0" y="35"/>
                  <a:pt x="0" y="79"/>
                </a:cubicBezTo>
                <a:cubicBezTo>
                  <a:pt x="0" y="122"/>
                  <a:pt x="35" y="158"/>
                  <a:pt x="79" y="158"/>
                </a:cubicBezTo>
                <a:cubicBezTo>
                  <a:pt x="79" y="205"/>
                  <a:pt x="79" y="205"/>
                  <a:pt x="79" y="205"/>
                </a:cubicBezTo>
                <a:cubicBezTo>
                  <a:pt x="84" y="253"/>
                  <a:pt x="108" y="295"/>
                  <a:pt x="144" y="324"/>
                </a:cubicBezTo>
                <a:cubicBezTo>
                  <a:pt x="372" y="324"/>
                  <a:pt x="372" y="324"/>
                  <a:pt x="372" y="324"/>
                </a:cubicBezTo>
                <a:cubicBezTo>
                  <a:pt x="408" y="295"/>
                  <a:pt x="432" y="253"/>
                  <a:pt x="437" y="205"/>
                </a:cubicBezTo>
                <a:close/>
                <a:moveTo>
                  <a:pt x="79" y="107"/>
                </a:moveTo>
                <a:cubicBezTo>
                  <a:pt x="63" y="107"/>
                  <a:pt x="51" y="94"/>
                  <a:pt x="51" y="79"/>
                </a:cubicBezTo>
                <a:cubicBezTo>
                  <a:pt x="51" y="63"/>
                  <a:pt x="63" y="51"/>
                  <a:pt x="79" y="51"/>
                </a:cubicBezTo>
                <a:lnTo>
                  <a:pt x="79" y="107"/>
                </a:lnTo>
                <a:close/>
              </a:path>
            </a:pathLst>
          </a:custGeom>
          <a:solidFill>
            <a:srgbClr val="61C3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271E0BE-6EBB-43B3-A5AE-82378D1C4C7D}"/>
              </a:ext>
            </a:extLst>
          </p:cNvPr>
          <p:cNvGrpSpPr/>
          <p:nvPr userDrawn="1"/>
        </p:nvGrpSpPr>
        <p:grpSpPr>
          <a:xfrm>
            <a:off x="17251518" y="5580309"/>
            <a:ext cx="1479013" cy="2877079"/>
            <a:chOff x="3887788" y="255588"/>
            <a:chExt cx="896938" cy="1744663"/>
          </a:xfrm>
          <a:solidFill>
            <a:srgbClr val="647082"/>
          </a:solidFill>
        </p:grpSpPr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B2C1D536-5410-45FC-90D2-F68B089E1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8601" y="255588"/>
              <a:ext cx="601663" cy="1744663"/>
            </a:xfrm>
            <a:custGeom>
              <a:avLst/>
              <a:gdLst>
                <a:gd name="T0" fmla="*/ 80 w 182"/>
                <a:gd name="T1" fmla="*/ 0 h 527"/>
                <a:gd name="T2" fmla="*/ 80 w 182"/>
                <a:gd name="T3" fmla="*/ 527 h 527"/>
                <a:gd name="T4" fmla="*/ 80 w 182"/>
                <a:gd name="T5" fmla="*/ 0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2" h="527">
                  <a:moveTo>
                    <a:pt x="80" y="0"/>
                  </a:moveTo>
                  <a:cubicBezTo>
                    <a:pt x="37" y="203"/>
                    <a:pt x="182" y="322"/>
                    <a:pt x="80" y="527"/>
                  </a:cubicBezTo>
                  <a:cubicBezTo>
                    <a:pt x="142" y="269"/>
                    <a:pt x="0" y="234"/>
                    <a:pt x="8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5">
              <a:extLst>
                <a:ext uri="{FF2B5EF4-FFF2-40B4-BE49-F238E27FC236}">
                  <a16:creationId xmlns:a16="http://schemas.microsoft.com/office/drawing/2014/main" id="{3E869B94-B083-48FB-9F18-4EA4876166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926" y="500063"/>
              <a:ext cx="431800" cy="1254125"/>
            </a:xfrm>
            <a:custGeom>
              <a:avLst/>
              <a:gdLst>
                <a:gd name="T0" fmla="*/ 58 w 131"/>
                <a:gd name="T1" fmla="*/ 0 h 379"/>
                <a:gd name="T2" fmla="*/ 58 w 131"/>
                <a:gd name="T3" fmla="*/ 379 h 379"/>
                <a:gd name="T4" fmla="*/ 58 w 131"/>
                <a:gd name="T5" fmla="*/ 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1" h="379">
                  <a:moveTo>
                    <a:pt x="58" y="0"/>
                  </a:moveTo>
                  <a:cubicBezTo>
                    <a:pt x="27" y="146"/>
                    <a:pt x="131" y="231"/>
                    <a:pt x="58" y="379"/>
                  </a:cubicBezTo>
                  <a:cubicBezTo>
                    <a:pt x="102" y="194"/>
                    <a:pt x="0" y="168"/>
                    <a:pt x="5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6">
              <a:extLst>
                <a:ext uri="{FF2B5EF4-FFF2-40B4-BE49-F238E27FC236}">
                  <a16:creationId xmlns:a16="http://schemas.microsoft.com/office/drawing/2014/main" id="{5BE0E590-0AF5-4C03-B551-40B436FBA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7788" y="500063"/>
              <a:ext cx="431800" cy="1254125"/>
            </a:xfrm>
            <a:custGeom>
              <a:avLst/>
              <a:gdLst>
                <a:gd name="T0" fmla="*/ 57 w 131"/>
                <a:gd name="T1" fmla="*/ 0 h 379"/>
                <a:gd name="T2" fmla="*/ 57 w 131"/>
                <a:gd name="T3" fmla="*/ 379 h 379"/>
                <a:gd name="T4" fmla="*/ 57 w 131"/>
                <a:gd name="T5" fmla="*/ 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1" h="379">
                  <a:moveTo>
                    <a:pt x="57" y="0"/>
                  </a:moveTo>
                  <a:cubicBezTo>
                    <a:pt x="26" y="146"/>
                    <a:pt x="131" y="231"/>
                    <a:pt x="57" y="379"/>
                  </a:cubicBezTo>
                  <a:cubicBezTo>
                    <a:pt x="102" y="194"/>
                    <a:pt x="0" y="168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1691578-F751-4E17-B760-3AD0AF5E824A}"/>
              </a:ext>
            </a:extLst>
          </p:cNvPr>
          <p:cNvGrpSpPr/>
          <p:nvPr userDrawn="1"/>
        </p:nvGrpSpPr>
        <p:grpSpPr>
          <a:xfrm>
            <a:off x="15974070" y="4780981"/>
            <a:ext cx="782696" cy="1932230"/>
            <a:chOff x="7312026" y="503238"/>
            <a:chExt cx="630238" cy="1555750"/>
          </a:xfrm>
          <a:solidFill>
            <a:srgbClr val="647082"/>
          </a:solidFill>
        </p:grpSpPr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E75458AB-3834-4610-A1E7-3FE5957A0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2026" y="963613"/>
              <a:ext cx="422275" cy="990600"/>
            </a:xfrm>
            <a:custGeom>
              <a:avLst/>
              <a:gdLst>
                <a:gd name="T0" fmla="*/ 112 w 128"/>
                <a:gd name="T1" fmla="*/ 257 h 299"/>
                <a:gd name="T2" fmla="*/ 110 w 128"/>
                <a:gd name="T3" fmla="*/ 228 h 299"/>
                <a:gd name="T4" fmla="*/ 107 w 128"/>
                <a:gd name="T5" fmla="*/ 220 h 299"/>
                <a:gd name="T6" fmla="*/ 90 w 128"/>
                <a:gd name="T7" fmla="*/ 197 h 299"/>
                <a:gd name="T8" fmla="*/ 66 w 128"/>
                <a:gd name="T9" fmla="*/ 178 h 299"/>
                <a:gd name="T10" fmla="*/ 38 w 128"/>
                <a:gd name="T11" fmla="*/ 159 h 299"/>
                <a:gd name="T12" fmla="*/ 14 w 128"/>
                <a:gd name="T13" fmla="*/ 133 h 299"/>
                <a:gd name="T14" fmla="*/ 3 w 128"/>
                <a:gd name="T15" fmla="*/ 111 h 299"/>
                <a:gd name="T16" fmla="*/ 1 w 128"/>
                <a:gd name="T17" fmla="*/ 99 h 299"/>
                <a:gd name="T18" fmla="*/ 0 w 128"/>
                <a:gd name="T19" fmla="*/ 83 h 299"/>
                <a:gd name="T20" fmla="*/ 0 w 128"/>
                <a:gd name="T21" fmla="*/ 81 h 299"/>
                <a:gd name="T22" fmla="*/ 1 w 128"/>
                <a:gd name="T23" fmla="*/ 80 h 299"/>
                <a:gd name="T24" fmla="*/ 5 w 128"/>
                <a:gd name="T25" fmla="*/ 63 h 299"/>
                <a:gd name="T26" fmla="*/ 20 w 128"/>
                <a:gd name="T27" fmla="*/ 33 h 299"/>
                <a:gd name="T28" fmla="*/ 26 w 128"/>
                <a:gd name="T29" fmla="*/ 14 h 299"/>
                <a:gd name="T30" fmla="*/ 28 w 128"/>
                <a:gd name="T31" fmla="*/ 3 h 299"/>
                <a:gd name="T32" fmla="*/ 29 w 128"/>
                <a:gd name="T33" fmla="*/ 3 h 299"/>
                <a:gd name="T34" fmla="*/ 31 w 128"/>
                <a:gd name="T35" fmla="*/ 14 h 299"/>
                <a:gd name="T36" fmla="*/ 30 w 128"/>
                <a:gd name="T37" fmla="*/ 37 h 299"/>
                <a:gd name="T38" fmla="*/ 21 w 128"/>
                <a:gd name="T39" fmla="*/ 68 h 299"/>
                <a:gd name="T40" fmla="*/ 19 w 128"/>
                <a:gd name="T41" fmla="*/ 83 h 299"/>
                <a:gd name="T42" fmla="*/ 19 w 128"/>
                <a:gd name="T43" fmla="*/ 84 h 299"/>
                <a:gd name="T44" fmla="*/ 19 w 128"/>
                <a:gd name="T45" fmla="*/ 84 h 299"/>
                <a:gd name="T46" fmla="*/ 19 w 128"/>
                <a:gd name="T47" fmla="*/ 84 h 299"/>
                <a:gd name="T48" fmla="*/ 21 w 128"/>
                <a:gd name="T49" fmla="*/ 95 h 299"/>
                <a:gd name="T50" fmla="*/ 24 w 128"/>
                <a:gd name="T51" fmla="*/ 104 h 299"/>
                <a:gd name="T52" fmla="*/ 33 w 128"/>
                <a:gd name="T53" fmla="*/ 120 h 299"/>
                <a:gd name="T54" fmla="*/ 54 w 128"/>
                <a:gd name="T55" fmla="*/ 140 h 299"/>
                <a:gd name="T56" fmla="*/ 80 w 128"/>
                <a:gd name="T57" fmla="*/ 159 h 299"/>
                <a:gd name="T58" fmla="*/ 105 w 128"/>
                <a:gd name="T59" fmla="*/ 181 h 299"/>
                <a:gd name="T60" fmla="*/ 124 w 128"/>
                <a:gd name="T61" fmla="*/ 212 h 299"/>
                <a:gd name="T62" fmla="*/ 126 w 128"/>
                <a:gd name="T63" fmla="*/ 216 h 299"/>
                <a:gd name="T64" fmla="*/ 126 w 128"/>
                <a:gd name="T65" fmla="*/ 217 h 299"/>
                <a:gd name="T66" fmla="*/ 126 w 128"/>
                <a:gd name="T67" fmla="*/ 218 h 299"/>
                <a:gd name="T68" fmla="*/ 127 w 128"/>
                <a:gd name="T69" fmla="*/ 224 h 299"/>
                <a:gd name="T70" fmla="*/ 124 w 128"/>
                <a:gd name="T71" fmla="*/ 259 h 299"/>
                <a:gd name="T72" fmla="*/ 104 w 128"/>
                <a:gd name="T7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8" h="299">
                  <a:moveTo>
                    <a:pt x="104" y="299"/>
                  </a:moveTo>
                  <a:cubicBezTo>
                    <a:pt x="108" y="285"/>
                    <a:pt x="111" y="271"/>
                    <a:pt x="112" y="257"/>
                  </a:cubicBezTo>
                  <a:cubicBezTo>
                    <a:pt x="113" y="250"/>
                    <a:pt x="113" y="243"/>
                    <a:pt x="112" y="237"/>
                  </a:cubicBezTo>
                  <a:cubicBezTo>
                    <a:pt x="111" y="234"/>
                    <a:pt x="111" y="231"/>
                    <a:pt x="110" y="228"/>
                  </a:cubicBezTo>
                  <a:cubicBezTo>
                    <a:pt x="109" y="223"/>
                    <a:pt x="109" y="223"/>
                    <a:pt x="109" y="223"/>
                  </a:cubicBezTo>
                  <a:cubicBezTo>
                    <a:pt x="107" y="220"/>
                    <a:pt x="107" y="220"/>
                    <a:pt x="107" y="220"/>
                  </a:cubicBezTo>
                  <a:cubicBezTo>
                    <a:pt x="104" y="212"/>
                    <a:pt x="100" y="209"/>
                    <a:pt x="96" y="204"/>
                  </a:cubicBezTo>
                  <a:cubicBezTo>
                    <a:pt x="90" y="197"/>
                    <a:pt x="90" y="197"/>
                    <a:pt x="90" y="197"/>
                  </a:cubicBezTo>
                  <a:cubicBezTo>
                    <a:pt x="82" y="190"/>
                    <a:pt x="82" y="190"/>
                    <a:pt x="82" y="190"/>
                  </a:cubicBezTo>
                  <a:cubicBezTo>
                    <a:pt x="77" y="186"/>
                    <a:pt x="71" y="182"/>
                    <a:pt x="66" y="178"/>
                  </a:cubicBezTo>
                  <a:cubicBezTo>
                    <a:pt x="60" y="174"/>
                    <a:pt x="54" y="170"/>
                    <a:pt x="48" y="166"/>
                  </a:cubicBezTo>
                  <a:cubicBezTo>
                    <a:pt x="45" y="164"/>
                    <a:pt x="42" y="162"/>
                    <a:pt x="38" y="159"/>
                  </a:cubicBezTo>
                  <a:cubicBezTo>
                    <a:pt x="36" y="157"/>
                    <a:pt x="33" y="155"/>
                    <a:pt x="30" y="152"/>
                  </a:cubicBezTo>
                  <a:cubicBezTo>
                    <a:pt x="24" y="146"/>
                    <a:pt x="18" y="140"/>
                    <a:pt x="14" y="133"/>
                  </a:cubicBezTo>
                  <a:cubicBezTo>
                    <a:pt x="12" y="130"/>
                    <a:pt x="10" y="127"/>
                    <a:pt x="8" y="123"/>
                  </a:cubicBezTo>
                  <a:cubicBezTo>
                    <a:pt x="6" y="119"/>
                    <a:pt x="5" y="115"/>
                    <a:pt x="3" y="111"/>
                  </a:cubicBezTo>
                  <a:cubicBezTo>
                    <a:pt x="2" y="105"/>
                    <a:pt x="2" y="105"/>
                    <a:pt x="2" y="105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0" y="95"/>
                    <a:pt x="0" y="91"/>
                    <a:pt x="0" y="86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2" y="74"/>
                    <a:pt x="2" y="74"/>
                    <a:pt x="2" y="74"/>
                  </a:cubicBezTo>
                  <a:cubicBezTo>
                    <a:pt x="3" y="71"/>
                    <a:pt x="4" y="67"/>
                    <a:pt x="5" y="63"/>
                  </a:cubicBezTo>
                  <a:cubicBezTo>
                    <a:pt x="8" y="55"/>
                    <a:pt x="12" y="49"/>
                    <a:pt x="15" y="4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1" y="30"/>
                    <a:pt x="23" y="27"/>
                    <a:pt x="24" y="24"/>
                  </a:cubicBezTo>
                  <a:cubicBezTo>
                    <a:pt x="25" y="21"/>
                    <a:pt x="26" y="17"/>
                    <a:pt x="26" y="14"/>
                  </a:cubicBezTo>
                  <a:cubicBezTo>
                    <a:pt x="27" y="10"/>
                    <a:pt x="27" y="7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30" y="6"/>
                    <a:pt x="30" y="10"/>
                    <a:pt x="31" y="14"/>
                  </a:cubicBezTo>
                  <a:cubicBezTo>
                    <a:pt x="31" y="18"/>
                    <a:pt x="31" y="21"/>
                    <a:pt x="31" y="25"/>
                  </a:cubicBezTo>
                  <a:cubicBezTo>
                    <a:pt x="31" y="29"/>
                    <a:pt x="30" y="33"/>
                    <a:pt x="30" y="37"/>
                  </a:cubicBezTo>
                  <a:cubicBezTo>
                    <a:pt x="29" y="40"/>
                    <a:pt x="28" y="44"/>
                    <a:pt x="27" y="47"/>
                  </a:cubicBezTo>
                  <a:cubicBezTo>
                    <a:pt x="25" y="54"/>
                    <a:pt x="23" y="61"/>
                    <a:pt x="21" y="68"/>
                  </a:cubicBezTo>
                  <a:cubicBezTo>
                    <a:pt x="21" y="71"/>
                    <a:pt x="20" y="73"/>
                    <a:pt x="20" y="77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5"/>
                    <a:pt x="19" y="83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20" y="87"/>
                    <a:pt x="20" y="87"/>
                    <a:pt x="20" y="87"/>
                  </a:cubicBezTo>
                  <a:cubicBezTo>
                    <a:pt x="20" y="90"/>
                    <a:pt x="20" y="92"/>
                    <a:pt x="21" y="95"/>
                  </a:cubicBezTo>
                  <a:cubicBezTo>
                    <a:pt x="22" y="100"/>
                    <a:pt x="22" y="100"/>
                    <a:pt x="22" y="100"/>
                  </a:cubicBezTo>
                  <a:cubicBezTo>
                    <a:pt x="24" y="104"/>
                    <a:pt x="24" y="104"/>
                    <a:pt x="24" y="104"/>
                  </a:cubicBezTo>
                  <a:cubicBezTo>
                    <a:pt x="25" y="107"/>
                    <a:pt x="26" y="109"/>
                    <a:pt x="28" y="112"/>
                  </a:cubicBezTo>
                  <a:cubicBezTo>
                    <a:pt x="29" y="115"/>
                    <a:pt x="31" y="117"/>
                    <a:pt x="33" y="120"/>
                  </a:cubicBezTo>
                  <a:cubicBezTo>
                    <a:pt x="37" y="125"/>
                    <a:pt x="41" y="130"/>
                    <a:pt x="46" y="134"/>
                  </a:cubicBezTo>
                  <a:cubicBezTo>
                    <a:pt x="48" y="136"/>
                    <a:pt x="51" y="138"/>
                    <a:pt x="54" y="140"/>
                  </a:cubicBezTo>
                  <a:cubicBezTo>
                    <a:pt x="62" y="146"/>
                    <a:pt x="62" y="146"/>
                    <a:pt x="62" y="146"/>
                  </a:cubicBezTo>
                  <a:cubicBezTo>
                    <a:pt x="68" y="150"/>
                    <a:pt x="74" y="154"/>
                    <a:pt x="80" y="159"/>
                  </a:cubicBezTo>
                  <a:cubicBezTo>
                    <a:pt x="86" y="163"/>
                    <a:pt x="92" y="168"/>
                    <a:pt x="97" y="173"/>
                  </a:cubicBezTo>
                  <a:cubicBezTo>
                    <a:pt x="105" y="181"/>
                    <a:pt x="105" y="181"/>
                    <a:pt x="105" y="181"/>
                  </a:cubicBezTo>
                  <a:cubicBezTo>
                    <a:pt x="113" y="191"/>
                    <a:pt x="113" y="191"/>
                    <a:pt x="113" y="191"/>
                  </a:cubicBezTo>
                  <a:cubicBezTo>
                    <a:pt x="118" y="197"/>
                    <a:pt x="123" y="206"/>
                    <a:pt x="124" y="212"/>
                  </a:cubicBezTo>
                  <a:cubicBezTo>
                    <a:pt x="125" y="215"/>
                    <a:pt x="125" y="215"/>
                    <a:pt x="125" y="215"/>
                  </a:cubicBezTo>
                  <a:cubicBezTo>
                    <a:pt x="126" y="216"/>
                    <a:pt x="126" y="216"/>
                    <a:pt x="126" y="216"/>
                  </a:cubicBezTo>
                  <a:cubicBezTo>
                    <a:pt x="126" y="216"/>
                    <a:pt x="126" y="216"/>
                    <a:pt x="126" y="216"/>
                  </a:cubicBezTo>
                  <a:cubicBezTo>
                    <a:pt x="126" y="217"/>
                    <a:pt x="126" y="217"/>
                    <a:pt x="126" y="217"/>
                  </a:cubicBezTo>
                  <a:cubicBezTo>
                    <a:pt x="126" y="217"/>
                    <a:pt x="126" y="217"/>
                    <a:pt x="126" y="217"/>
                  </a:cubicBezTo>
                  <a:cubicBezTo>
                    <a:pt x="126" y="218"/>
                    <a:pt x="126" y="218"/>
                    <a:pt x="126" y="218"/>
                  </a:cubicBezTo>
                  <a:cubicBezTo>
                    <a:pt x="126" y="218"/>
                    <a:pt x="126" y="218"/>
                    <a:pt x="126" y="218"/>
                  </a:cubicBezTo>
                  <a:cubicBezTo>
                    <a:pt x="127" y="224"/>
                    <a:pt x="127" y="224"/>
                    <a:pt x="127" y="224"/>
                  </a:cubicBezTo>
                  <a:cubicBezTo>
                    <a:pt x="128" y="228"/>
                    <a:pt x="128" y="232"/>
                    <a:pt x="128" y="236"/>
                  </a:cubicBezTo>
                  <a:cubicBezTo>
                    <a:pt x="128" y="244"/>
                    <a:pt x="126" y="252"/>
                    <a:pt x="124" y="259"/>
                  </a:cubicBezTo>
                  <a:cubicBezTo>
                    <a:pt x="122" y="267"/>
                    <a:pt x="119" y="273"/>
                    <a:pt x="115" y="280"/>
                  </a:cubicBezTo>
                  <a:cubicBezTo>
                    <a:pt x="112" y="287"/>
                    <a:pt x="108" y="293"/>
                    <a:pt x="104" y="2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CAB5DCD2-8330-465B-BB4B-ADBE5585B6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6014" y="503238"/>
              <a:ext cx="436563" cy="1555750"/>
            </a:xfrm>
            <a:custGeom>
              <a:avLst/>
              <a:gdLst>
                <a:gd name="T0" fmla="*/ 37 w 132"/>
                <a:gd name="T1" fmla="*/ 0 h 470"/>
                <a:gd name="T2" fmla="*/ 34 w 132"/>
                <a:gd name="T3" fmla="*/ 5 h 470"/>
                <a:gd name="T4" fmla="*/ 27 w 132"/>
                <a:gd name="T5" fmla="*/ 20 h 470"/>
                <a:gd name="T6" fmla="*/ 23 w 132"/>
                <a:gd name="T7" fmla="*/ 30 h 470"/>
                <a:gd name="T8" fmla="*/ 20 w 132"/>
                <a:gd name="T9" fmla="*/ 43 h 470"/>
                <a:gd name="T10" fmla="*/ 16 w 132"/>
                <a:gd name="T11" fmla="*/ 74 h 470"/>
                <a:gd name="T12" fmla="*/ 20 w 132"/>
                <a:gd name="T13" fmla="*/ 111 h 470"/>
                <a:gd name="T14" fmla="*/ 31 w 132"/>
                <a:gd name="T15" fmla="*/ 151 h 470"/>
                <a:gd name="T16" fmla="*/ 51 w 132"/>
                <a:gd name="T17" fmla="*/ 191 h 470"/>
                <a:gd name="T18" fmla="*/ 54 w 132"/>
                <a:gd name="T19" fmla="*/ 195 h 470"/>
                <a:gd name="T20" fmla="*/ 54 w 132"/>
                <a:gd name="T21" fmla="*/ 197 h 470"/>
                <a:gd name="T22" fmla="*/ 55 w 132"/>
                <a:gd name="T23" fmla="*/ 198 h 470"/>
                <a:gd name="T24" fmla="*/ 57 w 132"/>
                <a:gd name="T25" fmla="*/ 200 h 470"/>
                <a:gd name="T26" fmla="*/ 63 w 132"/>
                <a:gd name="T27" fmla="*/ 210 h 470"/>
                <a:gd name="T28" fmla="*/ 77 w 132"/>
                <a:gd name="T29" fmla="*/ 230 h 470"/>
                <a:gd name="T30" fmla="*/ 103 w 132"/>
                <a:gd name="T31" fmla="*/ 270 h 470"/>
                <a:gd name="T32" fmla="*/ 124 w 132"/>
                <a:gd name="T33" fmla="*/ 314 h 470"/>
                <a:gd name="T34" fmla="*/ 127 w 132"/>
                <a:gd name="T35" fmla="*/ 325 h 470"/>
                <a:gd name="T36" fmla="*/ 129 w 132"/>
                <a:gd name="T37" fmla="*/ 331 h 470"/>
                <a:gd name="T38" fmla="*/ 129 w 132"/>
                <a:gd name="T39" fmla="*/ 332 h 470"/>
                <a:gd name="T40" fmla="*/ 129 w 132"/>
                <a:gd name="T41" fmla="*/ 333 h 470"/>
                <a:gd name="T42" fmla="*/ 129 w 132"/>
                <a:gd name="T43" fmla="*/ 334 h 470"/>
                <a:gd name="T44" fmla="*/ 130 w 132"/>
                <a:gd name="T45" fmla="*/ 337 h 470"/>
                <a:gd name="T46" fmla="*/ 131 w 132"/>
                <a:gd name="T47" fmla="*/ 359 h 470"/>
                <a:gd name="T48" fmla="*/ 131 w 132"/>
                <a:gd name="T49" fmla="*/ 370 h 470"/>
                <a:gd name="T50" fmla="*/ 130 w 132"/>
                <a:gd name="T51" fmla="*/ 381 h 470"/>
                <a:gd name="T52" fmla="*/ 127 w 132"/>
                <a:gd name="T53" fmla="*/ 391 h 470"/>
                <a:gd name="T54" fmla="*/ 124 w 132"/>
                <a:gd name="T55" fmla="*/ 400 h 470"/>
                <a:gd name="T56" fmla="*/ 118 w 132"/>
                <a:gd name="T57" fmla="*/ 417 h 470"/>
                <a:gd name="T58" fmla="*/ 110 w 132"/>
                <a:gd name="T59" fmla="*/ 431 h 470"/>
                <a:gd name="T60" fmla="*/ 97 w 132"/>
                <a:gd name="T61" fmla="*/ 453 h 470"/>
                <a:gd name="T62" fmla="*/ 87 w 132"/>
                <a:gd name="T63" fmla="*/ 466 h 470"/>
                <a:gd name="T64" fmla="*/ 83 w 132"/>
                <a:gd name="T65" fmla="*/ 470 h 470"/>
                <a:gd name="T66" fmla="*/ 92 w 132"/>
                <a:gd name="T67" fmla="*/ 450 h 470"/>
                <a:gd name="T68" fmla="*/ 102 w 132"/>
                <a:gd name="T69" fmla="*/ 427 h 470"/>
                <a:gd name="T70" fmla="*/ 107 w 132"/>
                <a:gd name="T71" fmla="*/ 412 h 470"/>
                <a:gd name="T72" fmla="*/ 111 w 132"/>
                <a:gd name="T73" fmla="*/ 396 h 470"/>
                <a:gd name="T74" fmla="*/ 112 w 132"/>
                <a:gd name="T75" fmla="*/ 388 h 470"/>
                <a:gd name="T76" fmla="*/ 113 w 132"/>
                <a:gd name="T77" fmla="*/ 379 h 470"/>
                <a:gd name="T78" fmla="*/ 114 w 132"/>
                <a:gd name="T79" fmla="*/ 370 h 470"/>
                <a:gd name="T80" fmla="*/ 113 w 132"/>
                <a:gd name="T81" fmla="*/ 361 h 470"/>
                <a:gd name="T82" fmla="*/ 110 w 132"/>
                <a:gd name="T83" fmla="*/ 341 h 470"/>
                <a:gd name="T84" fmla="*/ 104 w 132"/>
                <a:gd name="T85" fmla="*/ 321 h 470"/>
                <a:gd name="T86" fmla="*/ 94 w 132"/>
                <a:gd name="T87" fmla="*/ 302 h 470"/>
                <a:gd name="T88" fmla="*/ 83 w 132"/>
                <a:gd name="T89" fmla="*/ 283 h 470"/>
                <a:gd name="T90" fmla="*/ 56 w 132"/>
                <a:gd name="T91" fmla="*/ 244 h 470"/>
                <a:gd name="T92" fmla="*/ 43 w 132"/>
                <a:gd name="T93" fmla="*/ 223 h 470"/>
                <a:gd name="T94" fmla="*/ 36 w 132"/>
                <a:gd name="T95" fmla="*/ 213 h 470"/>
                <a:gd name="T96" fmla="*/ 35 w 132"/>
                <a:gd name="T97" fmla="*/ 210 h 470"/>
                <a:gd name="T98" fmla="*/ 33 w 132"/>
                <a:gd name="T99" fmla="*/ 208 h 470"/>
                <a:gd name="T100" fmla="*/ 30 w 132"/>
                <a:gd name="T101" fmla="*/ 202 h 470"/>
                <a:gd name="T102" fmla="*/ 11 w 132"/>
                <a:gd name="T103" fmla="*/ 158 h 470"/>
                <a:gd name="T104" fmla="*/ 1 w 132"/>
                <a:gd name="T105" fmla="*/ 114 h 470"/>
                <a:gd name="T106" fmla="*/ 2 w 132"/>
                <a:gd name="T107" fmla="*/ 73 h 470"/>
                <a:gd name="T108" fmla="*/ 11 w 132"/>
                <a:gd name="T109" fmla="*/ 40 h 470"/>
                <a:gd name="T110" fmla="*/ 17 w 132"/>
                <a:gd name="T111" fmla="*/ 27 h 470"/>
                <a:gd name="T112" fmla="*/ 23 w 132"/>
                <a:gd name="T113" fmla="*/ 17 h 470"/>
                <a:gd name="T114" fmla="*/ 33 w 132"/>
                <a:gd name="T115" fmla="*/ 4 h 470"/>
                <a:gd name="T116" fmla="*/ 37 w 132"/>
                <a:gd name="T11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2" h="470">
                  <a:moveTo>
                    <a:pt x="37" y="0"/>
                  </a:moveTo>
                  <a:cubicBezTo>
                    <a:pt x="37" y="0"/>
                    <a:pt x="36" y="2"/>
                    <a:pt x="34" y="5"/>
                  </a:cubicBezTo>
                  <a:cubicBezTo>
                    <a:pt x="32" y="8"/>
                    <a:pt x="30" y="13"/>
                    <a:pt x="27" y="20"/>
                  </a:cubicBezTo>
                  <a:cubicBezTo>
                    <a:pt x="26" y="23"/>
                    <a:pt x="24" y="26"/>
                    <a:pt x="23" y="30"/>
                  </a:cubicBezTo>
                  <a:cubicBezTo>
                    <a:pt x="22" y="34"/>
                    <a:pt x="20" y="38"/>
                    <a:pt x="20" y="43"/>
                  </a:cubicBezTo>
                  <a:cubicBezTo>
                    <a:pt x="17" y="52"/>
                    <a:pt x="16" y="63"/>
                    <a:pt x="16" y="74"/>
                  </a:cubicBezTo>
                  <a:cubicBezTo>
                    <a:pt x="16" y="86"/>
                    <a:pt x="17" y="98"/>
                    <a:pt x="20" y="111"/>
                  </a:cubicBezTo>
                  <a:cubicBezTo>
                    <a:pt x="22" y="124"/>
                    <a:pt x="26" y="137"/>
                    <a:pt x="31" y="151"/>
                  </a:cubicBezTo>
                  <a:cubicBezTo>
                    <a:pt x="37" y="164"/>
                    <a:pt x="43" y="177"/>
                    <a:pt x="51" y="191"/>
                  </a:cubicBezTo>
                  <a:cubicBezTo>
                    <a:pt x="54" y="195"/>
                    <a:pt x="54" y="195"/>
                    <a:pt x="54" y="195"/>
                  </a:cubicBezTo>
                  <a:cubicBezTo>
                    <a:pt x="54" y="197"/>
                    <a:pt x="54" y="197"/>
                    <a:pt x="54" y="197"/>
                  </a:cubicBezTo>
                  <a:cubicBezTo>
                    <a:pt x="55" y="198"/>
                    <a:pt x="55" y="198"/>
                    <a:pt x="55" y="198"/>
                  </a:cubicBezTo>
                  <a:cubicBezTo>
                    <a:pt x="57" y="200"/>
                    <a:pt x="57" y="200"/>
                    <a:pt x="57" y="200"/>
                  </a:cubicBezTo>
                  <a:cubicBezTo>
                    <a:pt x="63" y="210"/>
                    <a:pt x="63" y="210"/>
                    <a:pt x="63" y="210"/>
                  </a:cubicBezTo>
                  <a:cubicBezTo>
                    <a:pt x="77" y="230"/>
                    <a:pt x="77" y="230"/>
                    <a:pt x="77" y="230"/>
                  </a:cubicBezTo>
                  <a:cubicBezTo>
                    <a:pt x="85" y="243"/>
                    <a:pt x="95" y="256"/>
                    <a:pt x="103" y="270"/>
                  </a:cubicBezTo>
                  <a:cubicBezTo>
                    <a:pt x="112" y="284"/>
                    <a:pt x="118" y="299"/>
                    <a:pt x="124" y="314"/>
                  </a:cubicBezTo>
                  <a:cubicBezTo>
                    <a:pt x="125" y="318"/>
                    <a:pt x="126" y="322"/>
                    <a:pt x="127" y="325"/>
                  </a:cubicBezTo>
                  <a:cubicBezTo>
                    <a:pt x="129" y="331"/>
                    <a:pt x="129" y="331"/>
                    <a:pt x="129" y="331"/>
                  </a:cubicBezTo>
                  <a:cubicBezTo>
                    <a:pt x="129" y="332"/>
                    <a:pt x="129" y="332"/>
                    <a:pt x="129" y="332"/>
                  </a:cubicBezTo>
                  <a:cubicBezTo>
                    <a:pt x="129" y="333"/>
                    <a:pt x="129" y="333"/>
                    <a:pt x="129" y="333"/>
                  </a:cubicBezTo>
                  <a:cubicBezTo>
                    <a:pt x="129" y="334"/>
                    <a:pt x="129" y="334"/>
                    <a:pt x="129" y="334"/>
                  </a:cubicBezTo>
                  <a:cubicBezTo>
                    <a:pt x="130" y="337"/>
                    <a:pt x="130" y="337"/>
                    <a:pt x="130" y="337"/>
                  </a:cubicBezTo>
                  <a:cubicBezTo>
                    <a:pt x="131" y="344"/>
                    <a:pt x="132" y="351"/>
                    <a:pt x="131" y="359"/>
                  </a:cubicBezTo>
                  <a:cubicBezTo>
                    <a:pt x="131" y="363"/>
                    <a:pt x="131" y="367"/>
                    <a:pt x="131" y="370"/>
                  </a:cubicBezTo>
                  <a:cubicBezTo>
                    <a:pt x="131" y="374"/>
                    <a:pt x="130" y="378"/>
                    <a:pt x="130" y="381"/>
                  </a:cubicBezTo>
                  <a:cubicBezTo>
                    <a:pt x="129" y="384"/>
                    <a:pt x="128" y="388"/>
                    <a:pt x="127" y="391"/>
                  </a:cubicBezTo>
                  <a:cubicBezTo>
                    <a:pt x="126" y="394"/>
                    <a:pt x="125" y="397"/>
                    <a:pt x="124" y="400"/>
                  </a:cubicBezTo>
                  <a:cubicBezTo>
                    <a:pt x="123" y="406"/>
                    <a:pt x="120" y="412"/>
                    <a:pt x="118" y="417"/>
                  </a:cubicBezTo>
                  <a:cubicBezTo>
                    <a:pt x="116" y="422"/>
                    <a:pt x="113" y="427"/>
                    <a:pt x="110" y="431"/>
                  </a:cubicBezTo>
                  <a:cubicBezTo>
                    <a:pt x="106" y="440"/>
                    <a:pt x="101" y="447"/>
                    <a:pt x="97" y="453"/>
                  </a:cubicBezTo>
                  <a:cubicBezTo>
                    <a:pt x="93" y="458"/>
                    <a:pt x="89" y="463"/>
                    <a:pt x="87" y="466"/>
                  </a:cubicBezTo>
                  <a:cubicBezTo>
                    <a:pt x="84" y="469"/>
                    <a:pt x="83" y="470"/>
                    <a:pt x="83" y="470"/>
                  </a:cubicBezTo>
                  <a:cubicBezTo>
                    <a:pt x="83" y="470"/>
                    <a:pt x="86" y="463"/>
                    <a:pt x="92" y="450"/>
                  </a:cubicBezTo>
                  <a:cubicBezTo>
                    <a:pt x="95" y="444"/>
                    <a:pt x="99" y="436"/>
                    <a:pt x="102" y="427"/>
                  </a:cubicBezTo>
                  <a:cubicBezTo>
                    <a:pt x="104" y="422"/>
                    <a:pt x="105" y="418"/>
                    <a:pt x="107" y="412"/>
                  </a:cubicBezTo>
                  <a:cubicBezTo>
                    <a:pt x="108" y="407"/>
                    <a:pt x="110" y="402"/>
                    <a:pt x="111" y="396"/>
                  </a:cubicBezTo>
                  <a:cubicBezTo>
                    <a:pt x="111" y="394"/>
                    <a:pt x="112" y="391"/>
                    <a:pt x="112" y="388"/>
                  </a:cubicBezTo>
                  <a:cubicBezTo>
                    <a:pt x="113" y="385"/>
                    <a:pt x="113" y="382"/>
                    <a:pt x="113" y="379"/>
                  </a:cubicBezTo>
                  <a:cubicBezTo>
                    <a:pt x="113" y="376"/>
                    <a:pt x="114" y="373"/>
                    <a:pt x="114" y="370"/>
                  </a:cubicBezTo>
                  <a:cubicBezTo>
                    <a:pt x="114" y="367"/>
                    <a:pt x="113" y="364"/>
                    <a:pt x="113" y="361"/>
                  </a:cubicBezTo>
                  <a:cubicBezTo>
                    <a:pt x="113" y="355"/>
                    <a:pt x="111" y="348"/>
                    <a:pt x="110" y="341"/>
                  </a:cubicBezTo>
                  <a:cubicBezTo>
                    <a:pt x="109" y="335"/>
                    <a:pt x="106" y="328"/>
                    <a:pt x="104" y="321"/>
                  </a:cubicBezTo>
                  <a:cubicBezTo>
                    <a:pt x="101" y="315"/>
                    <a:pt x="98" y="308"/>
                    <a:pt x="94" y="302"/>
                  </a:cubicBezTo>
                  <a:cubicBezTo>
                    <a:pt x="90" y="296"/>
                    <a:pt x="87" y="289"/>
                    <a:pt x="83" y="283"/>
                  </a:cubicBezTo>
                  <a:cubicBezTo>
                    <a:pt x="75" y="270"/>
                    <a:pt x="65" y="257"/>
                    <a:pt x="56" y="244"/>
                  </a:cubicBezTo>
                  <a:cubicBezTo>
                    <a:pt x="52" y="237"/>
                    <a:pt x="47" y="230"/>
                    <a:pt x="43" y="223"/>
                  </a:cubicBezTo>
                  <a:cubicBezTo>
                    <a:pt x="36" y="213"/>
                    <a:pt x="36" y="213"/>
                    <a:pt x="36" y="213"/>
                  </a:cubicBezTo>
                  <a:cubicBezTo>
                    <a:pt x="35" y="210"/>
                    <a:pt x="35" y="210"/>
                    <a:pt x="35" y="210"/>
                  </a:cubicBezTo>
                  <a:cubicBezTo>
                    <a:pt x="33" y="208"/>
                    <a:pt x="33" y="208"/>
                    <a:pt x="33" y="208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22" y="188"/>
                    <a:pt x="16" y="173"/>
                    <a:pt x="11" y="158"/>
                  </a:cubicBezTo>
                  <a:cubicBezTo>
                    <a:pt x="6" y="143"/>
                    <a:pt x="3" y="128"/>
                    <a:pt x="1" y="114"/>
                  </a:cubicBezTo>
                  <a:cubicBezTo>
                    <a:pt x="0" y="99"/>
                    <a:pt x="0" y="86"/>
                    <a:pt x="2" y="73"/>
                  </a:cubicBezTo>
                  <a:cubicBezTo>
                    <a:pt x="4" y="61"/>
                    <a:pt x="6" y="49"/>
                    <a:pt x="11" y="40"/>
                  </a:cubicBezTo>
                  <a:cubicBezTo>
                    <a:pt x="12" y="35"/>
                    <a:pt x="14" y="31"/>
                    <a:pt x="17" y="27"/>
                  </a:cubicBezTo>
                  <a:cubicBezTo>
                    <a:pt x="18" y="23"/>
                    <a:pt x="21" y="20"/>
                    <a:pt x="23" y="17"/>
                  </a:cubicBezTo>
                  <a:cubicBezTo>
                    <a:pt x="27" y="11"/>
                    <a:pt x="30" y="7"/>
                    <a:pt x="33" y="4"/>
                  </a:cubicBezTo>
                  <a:cubicBezTo>
                    <a:pt x="36" y="1"/>
                    <a:pt x="37" y="0"/>
                    <a:pt x="3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3060D023-9067-458F-992C-93F1AB316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1914" y="554038"/>
              <a:ext cx="260350" cy="893763"/>
            </a:xfrm>
            <a:custGeom>
              <a:avLst/>
              <a:gdLst>
                <a:gd name="T0" fmla="*/ 26 w 79"/>
                <a:gd name="T1" fmla="*/ 0 h 270"/>
                <a:gd name="T2" fmla="*/ 24 w 79"/>
                <a:gd name="T3" fmla="*/ 3 h 270"/>
                <a:gd name="T4" fmla="*/ 21 w 79"/>
                <a:gd name="T5" fmla="*/ 11 h 270"/>
                <a:gd name="T6" fmla="*/ 18 w 79"/>
                <a:gd name="T7" fmla="*/ 24 h 270"/>
                <a:gd name="T8" fmla="*/ 17 w 79"/>
                <a:gd name="T9" fmla="*/ 42 h 270"/>
                <a:gd name="T10" fmla="*/ 19 w 79"/>
                <a:gd name="T11" fmla="*/ 63 h 270"/>
                <a:gd name="T12" fmla="*/ 23 w 79"/>
                <a:gd name="T13" fmla="*/ 85 h 270"/>
                <a:gd name="T14" fmla="*/ 30 w 79"/>
                <a:gd name="T15" fmla="*/ 109 h 270"/>
                <a:gd name="T16" fmla="*/ 32 w 79"/>
                <a:gd name="T17" fmla="*/ 115 h 270"/>
                <a:gd name="T18" fmla="*/ 35 w 79"/>
                <a:gd name="T19" fmla="*/ 120 h 270"/>
                <a:gd name="T20" fmla="*/ 40 w 79"/>
                <a:gd name="T21" fmla="*/ 132 h 270"/>
                <a:gd name="T22" fmla="*/ 65 w 79"/>
                <a:gd name="T23" fmla="*/ 177 h 270"/>
                <a:gd name="T24" fmla="*/ 75 w 79"/>
                <a:gd name="T25" fmla="*/ 201 h 270"/>
                <a:gd name="T26" fmla="*/ 79 w 79"/>
                <a:gd name="T27" fmla="*/ 225 h 270"/>
                <a:gd name="T28" fmla="*/ 78 w 79"/>
                <a:gd name="T29" fmla="*/ 235 h 270"/>
                <a:gd name="T30" fmla="*/ 77 w 79"/>
                <a:gd name="T31" fmla="*/ 244 h 270"/>
                <a:gd name="T32" fmla="*/ 73 w 79"/>
                <a:gd name="T33" fmla="*/ 259 h 270"/>
                <a:gd name="T34" fmla="*/ 67 w 79"/>
                <a:gd name="T35" fmla="*/ 270 h 270"/>
                <a:gd name="T36" fmla="*/ 68 w 79"/>
                <a:gd name="T37" fmla="*/ 258 h 270"/>
                <a:gd name="T38" fmla="*/ 67 w 79"/>
                <a:gd name="T39" fmla="*/ 244 h 270"/>
                <a:gd name="T40" fmla="*/ 64 w 79"/>
                <a:gd name="T41" fmla="*/ 227 h 270"/>
                <a:gd name="T42" fmla="*/ 57 w 79"/>
                <a:gd name="T43" fmla="*/ 208 h 270"/>
                <a:gd name="T44" fmla="*/ 46 w 79"/>
                <a:gd name="T45" fmla="*/ 188 h 270"/>
                <a:gd name="T46" fmla="*/ 18 w 79"/>
                <a:gd name="T47" fmla="*/ 143 h 270"/>
                <a:gd name="T48" fmla="*/ 12 w 79"/>
                <a:gd name="T49" fmla="*/ 130 h 270"/>
                <a:gd name="T50" fmla="*/ 9 w 79"/>
                <a:gd name="T51" fmla="*/ 123 h 270"/>
                <a:gd name="T52" fmla="*/ 7 w 79"/>
                <a:gd name="T53" fmla="*/ 116 h 270"/>
                <a:gd name="T54" fmla="*/ 2 w 79"/>
                <a:gd name="T55" fmla="*/ 89 h 270"/>
                <a:gd name="T56" fmla="*/ 3 w 79"/>
                <a:gd name="T57" fmla="*/ 41 h 270"/>
                <a:gd name="T58" fmla="*/ 16 w 79"/>
                <a:gd name="T59" fmla="*/ 9 h 270"/>
                <a:gd name="T60" fmla="*/ 23 w 79"/>
                <a:gd name="T61" fmla="*/ 2 h 270"/>
                <a:gd name="T62" fmla="*/ 26 w 79"/>
                <a:gd name="T63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9" h="270">
                  <a:moveTo>
                    <a:pt x="26" y="0"/>
                  </a:moveTo>
                  <a:cubicBezTo>
                    <a:pt x="26" y="0"/>
                    <a:pt x="25" y="1"/>
                    <a:pt x="24" y="3"/>
                  </a:cubicBezTo>
                  <a:cubicBezTo>
                    <a:pt x="23" y="5"/>
                    <a:pt x="22" y="8"/>
                    <a:pt x="21" y="11"/>
                  </a:cubicBezTo>
                  <a:cubicBezTo>
                    <a:pt x="19" y="15"/>
                    <a:pt x="18" y="19"/>
                    <a:pt x="18" y="24"/>
                  </a:cubicBezTo>
                  <a:cubicBezTo>
                    <a:pt x="17" y="30"/>
                    <a:pt x="17" y="36"/>
                    <a:pt x="17" y="42"/>
                  </a:cubicBezTo>
                  <a:cubicBezTo>
                    <a:pt x="18" y="48"/>
                    <a:pt x="18" y="55"/>
                    <a:pt x="19" y="63"/>
                  </a:cubicBezTo>
                  <a:cubicBezTo>
                    <a:pt x="20" y="70"/>
                    <a:pt x="22" y="78"/>
                    <a:pt x="23" y="85"/>
                  </a:cubicBezTo>
                  <a:cubicBezTo>
                    <a:pt x="25" y="93"/>
                    <a:pt x="28" y="101"/>
                    <a:pt x="30" y="109"/>
                  </a:cubicBezTo>
                  <a:cubicBezTo>
                    <a:pt x="31" y="111"/>
                    <a:pt x="31" y="113"/>
                    <a:pt x="32" y="115"/>
                  </a:cubicBezTo>
                  <a:cubicBezTo>
                    <a:pt x="33" y="116"/>
                    <a:pt x="34" y="118"/>
                    <a:pt x="35" y="120"/>
                  </a:cubicBezTo>
                  <a:cubicBezTo>
                    <a:pt x="36" y="125"/>
                    <a:pt x="38" y="128"/>
                    <a:pt x="40" y="132"/>
                  </a:cubicBezTo>
                  <a:cubicBezTo>
                    <a:pt x="47" y="147"/>
                    <a:pt x="57" y="162"/>
                    <a:pt x="65" y="177"/>
                  </a:cubicBezTo>
                  <a:cubicBezTo>
                    <a:pt x="69" y="185"/>
                    <a:pt x="72" y="193"/>
                    <a:pt x="75" y="201"/>
                  </a:cubicBezTo>
                  <a:cubicBezTo>
                    <a:pt x="77" y="209"/>
                    <a:pt x="78" y="217"/>
                    <a:pt x="79" y="225"/>
                  </a:cubicBezTo>
                  <a:cubicBezTo>
                    <a:pt x="78" y="228"/>
                    <a:pt x="78" y="232"/>
                    <a:pt x="78" y="235"/>
                  </a:cubicBezTo>
                  <a:cubicBezTo>
                    <a:pt x="78" y="238"/>
                    <a:pt x="77" y="241"/>
                    <a:pt x="77" y="244"/>
                  </a:cubicBezTo>
                  <a:cubicBezTo>
                    <a:pt x="76" y="250"/>
                    <a:pt x="74" y="255"/>
                    <a:pt x="73" y="259"/>
                  </a:cubicBezTo>
                  <a:cubicBezTo>
                    <a:pt x="69" y="266"/>
                    <a:pt x="67" y="270"/>
                    <a:pt x="67" y="270"/>
                  </a:cubicBezTo>
                  <a:cubicBezTo>
                    <a:pt x="67" y="270"/>
                    <a:pt x="67" y="265"/>
                    <a:pt x="68" y="258"/>
                  </a:cubicBezTo>
                  <a:cubicBezTo>
                    <a:pt x="68" y="254"/>
                    <a:pt x="68" y="249"/>
                    <a:pt x="67" y="244"/>
                  </a:cubicBezTo>
                  <a:cubicBezTo>
                    <a:pt x="67" y="238"/>
                    <a:pt x="66" y="233"/>
                    <a:pt x="64" y="227"/>
                  </a:cubicBezTo>
                  <a:cubicBezTo>
                    <a:pt x="63" y="221"/>
                    <a:pt x="60" y="214"/>
                    <a:pt x="57" y="208"/>
                  </a:cubicBezTo>
                  <a:cubicBezTo>
                    <a:pt x="54" y="202"/>
                    <a:pt x="50" y="195"/>
                    <a:pt x="46" y="188"/>
                  </a:cubicBezTo>
                  <a:cubicBezTo>
                    <a:pt x="37" y="175"/>
                    <a:pt x="26" y="160"/>
                    <a:pt x="18" y="143"/>
                  </a:cubicBezTo>
                  <a:cubicBezTo>
                    <a:pt x="15" y="138"/>
                    <a:pt x="13" y="134"/>
                    <a:pt x="12" y="130"/>
                  </a:cubicBezTo>
                  <a:cubicBezTo>
                    <a:pt x="11" y="127"/>
                    <a:pt x="10" y="126"/>
                    <a:pt x="9" y="123"/>
                  </a:cubicBezTo>
                  <a:cubicBezTo>
                    <a:pt x="9" y="121"/>
                    <a:pt x="8" y="118"/>
                    <a:pt x="7" y="116"/>
                  </a:cubicBezTo>
                  <a:cubicBezTo>
                    <a:pt x="5" y="107"/>
                    <a:pt x="3" y="98"/>
                    <a:pt x="2" y="89"/>
                  </a:cubicBezTo>
                  <a:cubicBezTo>
                    <a:pt x="0" y="72"/>
                    <a:pt x="0" y="55"/>
                    <a:pt x="3" y="41"/>
                  </a:cubicBezTo>
                  <a:cubicBezTo>
                    <a:pt x="6" y="27"/>
                    <a:pt x="11" y="15"/>
                    <a:pt x="16" y="9"/>
                  </a:cubicBezTo>
                  <a:cubicBezTo>
                    <a:pt x="19" y="5"/>
                    <a:pt x="21" y="3"/>
                    <a:pt x="23" y="2"/>
                  </a:cubicBezTo>
                  <a:cubicBezTo>
                    <a:pt x="25" y="1"/>
                    <a:pt x="26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428723D-18D6-4616-91E7-04E0E992894A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 bwMode="white">
          <a:xfrm>
            <a:off x="725110" y="1443129"/>
            <a:ext cx="12769245" cy="3958238"/>
          </a:xfrm>
        </p:spPr>
        <p:txBody>
          <a:bodyPr>
            <a:normAutofit/>
          </a:bodyPr>
          <a:lstStyle>
            <a:lvl1pPr algn="l">
              <a:defRPr sz="7915" b="0">
                <a:solidFill>
                  <a:schemeClr val="bg1"/>
                </a:solidFill>
              </a:defRPr>
            </a:lvl1pPr>
            <a:lvl2pPr algn="l">
              <a:defRPr sz="5936">
                <a:solidFill>
                  <a:schemeClr val="bg1"/>
                </a:solidFill>
              </a:defRPr>
            </a:lvl2pPr>
            <a:lvl3pPr algn="l">
              <a:defRPr sz="3958" b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Time</a:t>
            </a:r>
            <a:r>
              <a:rPr lang="en-US" dirty="0"/>
              <a:t> for a break&gt;&gt;</a:t>
            </a:r>
          </a:p>
        </p:txBody>
      </p:sp>
    </p:spTree>
    <p:extLst>
      <p:ext uri="{BB962C8B-B14F-4D97-AF65-F5344CB8AC3E}">
        <p14:creationId xmlns:p14="http://schemas.microsoft.com/office/powerpoint/2010/main" val="418422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1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250"/>
                            </p:stCondLst>
                            <p:childTnLst>
                              <p:par>
                                <p:cTn id="12" presetID="22" presetClass="exit" presetSubtype="4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3" dur="1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22" presetClass="exit" presetSubtype="4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6" dur="1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re safety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31">
            <a:extLst>
              <a:ext uri="{FF2B5EF4-FFF2-40B4-BE49-F238E27FC236}">
                <a16:creationId xmlns:a16="http://schemas.microsoft.com/office/drawing/2014/main" id="{F95DEC9C-58F3-4C95-A7E6-0DE5EB0367B9}"/>
              </a:ext>
            </a:extLst>
          </p:cNvPr>
          <p:cNvSpPr>
            <a:spLocks noChangeShapeType="1"/>
          </p:cNvSpPr>
          <p:nvPr userDrawn="1"/>
        </p:nvSpPr>
        <p:spPr bwMode="white">
          <a:xfrm>
            <a:off x="724702" y="712400"/>
            <a:ext cx="18654700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968"/>
          </a:p>
        </p:txBody>
      </p:sp>
      <p:sp>
        <p:nvSpPr>
          <p:cNvPr id="8" name="Line 31">
            <a:extLst>
              <a:ext uri="{FF2B5EF4-FFF2-40B4-BE49-F238E27FC236}">
                <a16:creationId xmlns:a16="http://schemas.microsoft.com/office/drawing/2014/main" id="{153B1FF1-414A-4719-96AA-A7A333EAA173}"/>
              </a:ext>
            </a:extLst>
          </p:cNvPr>
          <p:cNvSpPr>
            <a:spLocks noChangeShapeType="1"/>
          </p:cNvSpPr>
          <p:nvPr userDrawn="1"/>
        </p:nvSpPr>
        <p:spPr bwMode="white">
          <a:xfrm>
            <a:off x="724702" y="10596950"/>
            <a:ext cx="18654700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968"/>
          </a:p>
        </p:txBody>
      </p:sp>
      <p:sp>
        <p:nvSpPr>
          <p:cNvPr id="73" name="Rectangle 5">
            <a:extLst>
              <a:ext uri="{FF2B5EF4-FFF2-40B4-BE49-F238E27FC236}">
                <a16:creationId xmlns:a16="http://schemas.microsoft.com/office/drawing/2014/main" id="{91F3B500-DC71-4C03-880E-AFEF0F2CDBD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3636300" y="5857336"/>
            <a:ext cx="5738045" cy="4725320"/>
          </a:xfrm>
          <a:prstGeom prst="rect">
            <a:avLst/>
          </a:prstGeom>
          <a:solidFill>
            <a:srgbClr val="B1200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4" name="Freeform 6">
            <a:extLst>
              <a:ext uri="{FF2B5EF4-FFF2-40B4-BE49-F238E27FC236}">
                <a16:creationId xmlns:a16="http://schemas.microsoft.com/office/drawing/2014/main" id="{B6CB4AD4-BE23-4D60-AD03-5C05A19F7E87}"/>
              </a:ext>
            </a:extLst>
          </p:cNvPr>
          <p:cNvSpPr>
            <a:spLocks/>
          </p:cNvSpPr>
          <p:nvPr userDrawn="1"/>
        </p:nvSpPr>
        <p:spPr bwMode="auto">
          <a:xfrm>
            <a:off x="14125816" y="7781498"/>
            <a:ext cx="4751165" cy="2350879"/>
          </a:xfrm>
          <a:custGeom>
            <a:avLst/>
            <a:gdLst>
              <a:gd name="T0" fmla="*/ 905 w 905"/>
              <a:gd name="T1" fmla="*/ 369 h 448"/>
              <a:gd name="T2" fmla="*/ 825 w 905"/>
              <a:gd name="T3" fmla="*/ 448 h 448"/>
              <a:gd name="T4" fmla="*/ 80 w 905"/>
              <a:gd name="T5" fmla="*/ 448 h 448"/>
              <a:gd name="T6" fmla="*/ 0 w 905"/>
              <a:gd name="T7" fmla="*/ 369 h 448"/>
              <a:gd name="T8" fmla="*/ 0 w 905"/>
              <a:gd name="T9" fmla="*/ 79 h 448"/>
              <a:gd name="T10" fmla="*/ 80 w 905"/>
              <a:gd name="T11" fmla="*/ 0 h 448"/>
              <a:gd name="T12" fmla="*/ 825 w 905"/>
              <a:gd name="T13" fmla="*/ 0 h 448"/>
              <a:gd name="T14" fmla="*/ 905 w 905"/>
              <a:gd name="T15" fmla="*/ 79 h 448"/>
              <a:gd name="T16" fmla="*/ 905 w 905"/>
              <a:gd name="T17" fmla="*/ 369 h 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05" h="448">
                <a:moveTo>
                  <a:pt x="905" y="369"/>
                </a:moveTo>
                <a:cubicBezTo>
                  <a:pt x="905" y="412"/>
                  <a:pt x="869" y="448"/>
                  <a:pt x="825" y="448"/>
                </a:cubicBezTo>
                <a:cubicBezTo>
                  <a:pt x="80" y="448"/>
                  <a:pt x="80" y="448"/>
                  <a:pt x="80" y="448"/>
                </a:cubicBezTo>
                <a:cubicBezTo>
                  <a:pt x="36" y="448"/>
                  <a:pt x="0" y="412"/>
                  <a:pt x="0" y="369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35"/>
                  <a:pt x="36" y="0"/>
                  <a:pt x="80" y="0"/>
                </a:cubicBezTo>
                <a:cubicBezTo>
                  <a:pt x="825" y="0"/>
                  <a:pt x="825" y="0"/>
                  <a:pt x="825" y="0"/>
                </a:cubicBezTo>
                <a:cubicBezTo>
                  <a:pt x="869" y="0"/>
                  <a:pt x="905" y="35"/>
                  <a:pt x="905" y="79"/>
                </a:cubicBezTo>
                <a:lnTo>
                  <a:pt x="905" y="36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5" name="Oval 7">
            <a:extLst>
              <a:ext uri="{FF2B5EF4-FFF2-40B4-BE49-F238E27FC236}">
                <a16:creationId xmlns:a16="http://schemas.microsoft.com/office/drawing/2014/main" id="{E9B37DAB-73B6-405B-80A2-0E7EA635068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858685" y="6344267"/>
            <a:ext cx="871702" cy="871763"/>
          </a:xfrm>
          <a:prstGeom prst="ellipse">
            <a:avLst/>
          </a:prstGeom>
          <a:solidFill>
            <a:srgbClr val="043145"/>
          </a:solidFill>
          <a:ln w="25400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6" name="Freeform 8">
            <a:extLst>
              <a:ext uri="{FF2B5EF4-FFF2-40B4-BE49-F238E27FC236}">
                <a16:creationId xmlns:a16="http://schemas.microsoft.com/office/drawing/2014/main" id="{5D7E23DF-4E75-4F99-850E-FF6F162A1807}"/>
              </a:ext>
            </a:extLst>
          </p:cNvPr>
          <p:cNvSpPr>
            <a:spLocks/>
          </p:cNvSpPr>
          <p:nvPr userDrawn="1"/>
        </p:nvSpPr>
        <p:spPr bwMode="auto">
          <a:xfrm>
            <a:off x="18411026" y="6124363"/>
            <a:ext cx="78532" cy="83773"/>
          </a:xfrm>
          <a:custGeom>
            <a:avLst/>
            <a:gdLst>
              <a:gd name="T0" fmla="*/ 1 w 15"/>
              <a:gd name="T1" fmla="*/ 6 h 16"/>
              <a:gd name="T2" fmla="*/ 9 w 15"/>
              <a:gd name="T3" fmla="*/ 1 h 16"/>
              <a:gd name="T4" fmla="*/ 14 w 15"/>
              <a:gd name="T5" fmla="*/ 10 h 16"/>
              <a:gd name="T6" fmla="*/ 6 w 15"/>
              <a:gd name="T7" fmla="*/ 15 h 16"/>
              <a:gd name="T8" fmla="*/ 1 w 15"/>
              <a:gd name="T9" fmla="*/ 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6">
                <a:moveTo>
                  <a:pt x="1" y="6"/>
                </a:moveTo>
                <a:cubicBezTo>
                  <a:pt x="2" y="2"/>
                  <a:pt x="5" y="0"/>
                  <a:pt x="9" y="1"/>
                </a:cubicBezTo>
                <a:cubicBezTo>
                  <a:pt x="13" y="2"/>
                  <a:pt x="15" y="6"/>
                  <a:pt x="14" y="10"/>
                </a:cubicBezTo>
                <a:cubicBezTo>
                  <a:pt x="13" y="14"/>
                  <a:pt x="9" y="16"/>
                  <a:pt x="6" y="15"/>
                </a:cubicBezTo>
                <a:cubicBezTo>
                  <a:pt x="2" y="14"/>
                  <a:pt x="0" y="10"/>
                  <a:pt x="1" y="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7" name="Freeform 9">
            <a:extLst>
              <a:ext uri="{FF2B5EF4-FFF2-40B4-BE49-F238E27FC236}">
                <a16:creationId xmlns:a16="http://schemas.microsoft.com/office/drawing/2014/main" id="{26AD2540-1BCE-40EC-8527-05D4F05B6909}"/>
              </a:ext>
            </a:extLst>
          </p:cNvPr>
          <p:cNvSpPr>
            <a:spLocks/>
          </p:cNvSpPr>
          <p:nvPr userDrawn="1"/>
        </p:nvSpPr>
        <p:spPr bwMode="auto">
          <a:xfrm>
            <a:off x="18086428" y="7325983"/>
            <a:ext cx="83767" cy="78537"/>
          </a:xfrm>
          <a:custGeom>
            <a:avLst/>
            <a:gdLst>
              <a:gd name="T0" fmla="*/ 1 w 16"/>
              <a:gd name="T1" fmla="*/ 5 h 15"/>
              <a:gd name="T2" fmla="*/ 10 w 16"/>
              <a:gd name="T3" fmla="*/ 1 h 15"/>
              <a:gd name="T4" fmla="*/ 15 w 16"/>
              <a:gd name="T5" fmla="*/ 9 h 15"/>
              <a:gd name="T6" fmla="*/ 6 w 16"/>
              <a:gd name="T7" fmla="*/ 14 h 15"/>
              <a:gd name="T8" fmla="*/ 1 w 16"/>
              <a:gd name="T9" fmla="*/ 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5">
                <a:moveTo>
                  <a:pt x="1" y="5"/>
                </a:moveTo>
                <a:cubicBezTo>
                  <a:pt x="2" y="2"/>
                  <a:pt x="6" y="0"/>
                  <a:pt x="10" y="1"/>
                </a:cubicBezTo>
                <a:cubicBezTo>
                  <a:pt x="14" y="2"/>
                  <a:pt x="16" y="5"/>
                  <a:pt x="15" y="9"/>
                </a:cubicBezTo>
                <a:cubicBezTo>
                  <a:pt x="14" y="13"/>
                  <a:pt x="10" y="15"/>
                  <a:pt x="6" y="14"/>
                </a:cubicBezTo>
                <a:cubicBezTo>
                  <a:pt x="3" y="13"/>
                  <a:pt x="0" y="9"/>
                  <a:pt x="1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8" name="Freeform 10">
            <a:extLst>
              <a:ext uri="{FF2B5EF4-FFF2-40B4-BE49-F238E27FC236}">
                <a16:creationId xmlns:a16="http://schemas.microsoft.com/office/drawing/2014/main" id="{7F5C707D-A7BD-4ACB-AC52-C3DB39F8741C}"/>
              </a:ext>
            </a:extLst>
          </p:cNvPr>
          <p:cNvSpPr>
            <a:spLocks/>
          </p:cNvSpPr>
          <p:nvPr userDrawn="1"/>
        </p:nvSpPr>
        <p:spPr bwMode="auto">
          <a:xfrm>
            <a:off x="18562853" y="6187192"/>
            <a:ext cx="83767" cy="83773"/>
          </a:xfrm>
          <a:custGeom>
            <a:avLst/>
            <a:gdLst>
              <a:gd name="T0" fmla="*/ 2 w 16"/>
              <a:gd name="T1" fmla="*/ 5 h 16"/>
              <a:gd name="T2" fmla="*/ 11 w 16"/>
              <a:gd name="T3" fmla="*/ 2 h 16"/>
              <a:gd name="T4" fmla="*/ 14 w 16"/>
              <a:gd name="T5" fmla="*/ 12 h 16"/>
              <a:gd name="T6" fmla="*/ 4 w 16"/>
              <a:gd name="T7" fmla="*/ 14 h 16"/>
              <a:gd name="T8" fmla="*/ 2 w 16"/>
              <a:gd name="T9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6">
                <a:moveTo>
                  <a:pt x="2" y="5"/>
                </a:moveTo>
                <a:cubicBezTo>
                  <a:pt x="3" y="1"/>
                  <a:pt x="8" y="0"/>
                  <a:pt x="11" y="2"/>
                </a:cubicBezTo>
                <a:cubicBezTo>
                  <a:pt x="14" y="4"/>
                  <a:pt x="16" y="9"/>
                  <a:pt x="14" y="12"/>
                </a:cubicBezTo>
                <a:cubicBezTo>
                  <a:pt x="12" y="15"/>
                  <a:pt x="7" y="16"/>
                  <a:pt x="4" y="14"/>
                </a:cubicBezTo>
                <a:cubicBezTo>
                  <a:pt x="1" y="12"/>
                  <a:pt x="0" y="8"/>
                  <a:pt x="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9" name="Freeform 11">
            <a:extLst>
              <a:ext uri="{FF2B5EF4-FFF2-40B4-BE49-F238E27FC236}">
                <a16:creationId xmlns:a16="http://schemas.microsoft.com/office/drawing/2014/main" id="{290C0918-1FC1-4297-AB81-5F83D31A533C}"/>
              </a:ext>
            </a:extLst>
          </p:cNvPr>
          <p:cNvSpPr>
            <a:spLocks/>
          </p:cNvSpPr>
          <p:nvPr userDrawn="1"/>
        </p:nvSpPr>
        <p:spPr bwMode="auto">
          <a:xfrm>
            <a:off x="17931981" y="7257916"/>
            <a:ext cx="86386" cy="83773"/>
          </a:xfrm>
          <a:custGeom>
            <a:avLst/>
            <a:gdLst>
              <a:gd name="T0" fmla="*/ 2 w 16"/>
              <a:gd name="T1" fmla="*/ 5 h 16"/>
              <a:gd name="T2" fmla="*/ 11 w 16"/>
              <a:gd name="T3" fmla="*/ 2 h 16"/>
              <a:gd name="T4" fmla="*/ 14 w 16"/>
              <a:gd name="T5" fmla="*/ 12 h 16"/>
              <a:gd name="T6" fmla="*/ 4 w 16"/>
              <a:gd name="T7" fmla="*/ 14 h 16"/>
              <a:gd name="T8" fmla="*/ 2 w 16"/>
              <a:gd name="T9" fmla="*/ 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6">
                <a:moveTo>
                  <a:pt x="2" y="5"/>
                </a:moveTo>
                <a:cubicBezTo>
                  <a:pt x="4" y="1"/>
                  <a:pt x="8" y="0"/>
                  <a:pt x="11" y="2"/>
                </a:cubicBezTo>
                <a:cubicBezTo>
                  <a:pt x="15" y="4"/>
                  <a:pt x="16" y="8"/>
                  <a:pt x="14" y="12"/>
                </a:cubicBezTo>
                <a:cubicBezTo>
                  <a:pt x="12" y="15"/>
                  <a:pt x="8" y="16"/>
                  <a:pt x="4" y="14"/>
                </a:cubicBezTo>
                <a:cubicBezTo>
                  <a:pt x="1" y="12"/>
                  <a:pt x="0" y="8"/>
                  <a:pt x="2" y="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0" name="Freeform 12">
            <a:extLst>
              <a:ext uri="{FF2B5EF4-FFF2-40B4-BE49-F238E27FC236}">
                <a16:creationId xmlns:a16="http://schemas.microsoft.com/office/drawing/2014/main" id="{2F5CC861-E48C-49F3-9B32-B9E5A0804C53}"/>
              </a:ext>
            </a:extLst>
          </p:cNvPr>
          <p:cNvSpPr>
            <a:spLocks/>
          </p:cNvSpPr>
          <p:nvPr userDrawn="1"/>
        </p:nvSpPr>
        <p:spPr bwMode="auto">
          <a:xfrm>
            <a:off x="18688504" y="6291909"/>
            <a:ext cx="83767" cy="78537"/>
          </a:xfrm>
          <a:custGeom>
            <a:avLst/>
            <a:gdLst>
              <a:gd name="T0" fmla="*/ 3 w 16"/>
              <a:gd name="T1" fmla="*/ 2 h 15"/>
              <a:gd name="T2" fmla="*/ 13 w 16"/>
              <a:gd name="T3" fmla="*/ 3 h 15"/>
              <a:gd name="T4" fmla="*/ 13 w 16"/>
              <a:gd name="T5" fmla="*/ 13 h 15"/>
              <a:gd name="T6" fmla="*/ 3 w 16"/>
              <a:gd name="T7" fmla="*/ 12 h 15"/>
              <a:gd name="T8" fmla="*/ 3 w 16"/>
              <a:gd name="T9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5">
                <a:moveTo>
                  <a:pt x="3" y="2"/>
                </a:moveTo>
                <a:cubicBezTo>
                  <a:pt x="6" y="0"/>
                  <a:pt x="10" y="0"/>
                  <a:pt x="13" y="3"/>
                </a:cubicBezTo>
                <a:cubicBezTo>
                  <a:pt x="16" y="5"/>
                  <a:pt x="16" y="10"/>
                  <a:pt x="13" y="13"/>
                </a:cubicBezTo>
                <a:cubicBezTo>
                  <a:pt x="10" y="15"/>
                  <a:pt x="6" y="15"/>
                  <a:pt x="3" y="12"/>
                </a:cubicBezTo>
                <a:cubicBezTo>
                  <a:pt x="0" y="10"/>
                  <a:pt x="0" y="5"/>
                  <a:pt x="3" y="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1" name="Freeform 13">
            <a:extLst>
              <a:ext uri="{FF2B5EF4-FFF2-40B4-BE49-F238E27FC236}">
                <a16:creationId xmlns:a16="http://schemas.microsoft.com/office/drawing/2014/main" id="{E98454F5-3346-4823-AB09-FCEC8F2617BB}"/>
              </a:ext>
            </a:extLst>
          </p:cNvPr>
          <p:cNvSpPr>
            <a:spLocks/>
          </p:cNvSpPr>
          <p:nvPr userDrawn="1"/>
        </p:nvSpPr>
        <p:spPr bwMode="auto">
          <a:xfrm>
            <a:off x="17806332" y="7158436"/>
            <a:ext cx="78532" cy="83773"/>
          </a:xfrm>
          <a:custGeom>
            <a:avLst/>
            <a:gdLst>
              <a:gd name="T0" fmla="*/ 2 w 15"/>
              <a:gd name="T1" fmla="*/ 3 h 16"/>
              <a:gd name="T2" fmla="*/ 12 w 15"/>
              <a:gd name="T3" fmla="*/ 3 h 16"/>
              <a:gd name="T4" fmla="*/ 12 w 15"/>
              <a:gd name="T5" fmla="*/ 13 h 16"/>
              <a:gd name="T6" fmla="*/ 2 w 15"/>
              <a:gd name="T7" fmla="*/ 13 h 16"/>
              <a:gd name="T8" fmla="*/ 2 w 15"/>
              <a:gd name="T9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6">
                <a:moveTo>
                  <a:pt x="2" y="3"/>
                </a:moveTo>
                <a:cubicBezTo>
                  <a:pt x="5" y="0"/>
                  <a:pt x="10" y="0"/>
                  <a:pt x="12" y="3"/>
                </a:cubicBezTo>
                <a:cubicBezTo>
                  <a:pt x="15" y="6"/>
                  <a:pt x="15" y="10"/>
                  <a:pt x="12" y="13"/>
                </a:cubicBezTo>
                <a:cubicBezTo>
                  <a:pt x="10" y="16"/>
                  <a:pt x="5" y="16"/>
                  <a:pt x="2" y="13"/>
                </a:cubicBezTo>
                <a:cubicBezTo>
                  <a:pt x="0" y="10"/>
                  <a:pt x="0" y="6"/>
                  <a:pt x="2" y="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2" name="Freeform 14">
            <a:extLst>
              <a:ext uri="{FF2B5EF4-FFF2-40B4-BE49-F238E27FC236}">
                <a16:creationId xmlns:a16="http://schemas.microsoft.com/office/drawing/2014/main" id="{9B47132C-FB7E-480C-BD41-811767642E17}"/>
              </a:ext>
            </a:extLst>
          </p:cNvPr>
          <p:cNvSpPr>
            <a:spLocks/>
          </p:cNvSpPr>
          <p:nvPr userDrawn="1"/>
        </p:nvSpPr>
        <p:spPr bwMode="auto">
          <a:xfrm>
            <a:off x="18787977" y="6417568"/>
            <a:ext cx="83767" cy="83773"/>
          </a:xfrm>
          <a:custGeom>
            <a:avLst/>
            <a:gdLst>
              <a:gd name="T0" fmla="*/ 4 w 16"/>
              <a:gd name="T1" fmla="*/ 2 h 16"/>
              <a:gd name="T2" fmla="*/ 14 w 16"/>
              <a:gd name="T3" fmla="*/ 5 h 16"/>
              <a:gd name="T4" fmla="*/ 11 w 16"/>
              <a:gd name="T5" fmla="*/ 15 h 16"/>
              <a:gd name="T6" fmla="*/ 2 w 16"/>
              <a:gd name="T7" fmla="*/ 12 h 16"/>
              <a:gd name="T8" fmla="*/ 4 w 16"/>
              <a:gd name="T9" fmla="*/ 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6">
                <a:moveTo>
                  <a:pt x="4" y="2"/>
                </a:moveTo>
                <a:cubicBezTo>
                  <a:pt x="8" y="0"/>
                  <a:pt x="12" y="2"/>
                  <a:pt x="14" y="5"/>
                </a:cubicBezTo>
                <a:cubicBezTo>
                  <a:pt x="16" y="8"/>
                  <a:pt x="15" y="13"/>
                  <a:pt x="11" y="15"/>
                </a:cubicBezTo>
                <a:cubicBezTo>
                  <a:pt x="8" y="16"/>
                  <a:pt x="4" y="15"/>
                  <a:pt x="2" y="12"/>
                </a:cubicBezTo>
                <a:cubicBezTo>
                  <a:pt x="0" y="8"/>
                  <a:pt x="1" y="4"/>
                  <a:pt x="4" y="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3" name="Freeform 15">
            <a:extLst>
              <a:ext uri="{FF2B5EF4-FFF2-40B4-BE49-F238E27FC236}">
                <a16:creationId xmlns:a16="http://schemas.microsoft.com/office/drawing/2014/main" id="{38106F62-5B18-4F22-ABC8-8DB26651FE56}"/>
              </a:ext>
            </a:extLst>
          </p:cNvPr>
          <p:cNvSpPr>
            <a:spLocks/>
          </p:cNvSpPr>
          <p:nvPr userDrawn="1"/>
        </p:nvSpPr>
        <p:spPr bwMode="auto">
          <a:xfrm>
            <a:off x="17706858" y="7027541"/>
            <a:ext cx="83767" cy="83773"/>
          </a:xfrm>
          <a:custGeom>
            <a:avLst/>
            <a:gdLst>
              <a:gd name="T0" fmla="*/ 4 w 16"/>
              <a:gd name="T1" fmla="*/ 2 h 16"/>
              <a:gd name="T2" fmla="*/ 14 w 16"/>
              <a:gd name="T3" fmla="*/ 4 h 16"/>
              <a:gd name="T4" fmla="*/ 11 w 16"/>
              <a:gd name="T5" fmla="*/ 14 h 16"/>
              <a:gd name="T6" fmla="*/ 2 w 16"/>
              <a:gd name="T7" fmla="*/ 11 h 16"/>
              <a:gd name="T8" fmla="*/ 4 w 16"/>
              <a:gd name="T9" fmla="*/ 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6">
                <a:moveTo>
                  <a:pt x="4" y="2"/>
                </a:moveTo>
                <a:cubicBezTo>
                  <a:pt x="8" y="0"/>
                  <a:pt x="12" y="1"/>
                  <a:pt x="14" y="4"/>
                </a:cubicBezTo>
                <a:cubicBezTo>
                  <a:pt x="16" y="8"/>
                  <a:pt x="14" y="12"/>
                  <a:pt x="11" y="14"/>
                </a:cubicBezTo>
                <a:cubicBezTo>
                  <a:pt x="8" y="16"/>
                  <a:pt x="3" y="15"/>
                  <a:pt x="2" y="11"/>
                </a:cubicBezTo>
                <a:cubicBezTo>
                  <a:pt x="0" y="8"/>
                  <a:pt x="1" y="4"/>
                  <a:pt x="4" y="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4" name="Freeform 16">
            <a:extLst>
              <a:ext uri="{FF2B5EF4-FFF2-40B4-BE49-F238E27FC236}">
                <a16:creationId xmlns:a16="http://schemas.microsoft.com/office/drawing/2014/main" id="{C8AD1AAD-70C1-4418-9E2E-2D16F244FF7F}"/>
              </a:ext>
            </a:extLst>
          </p:cNvPr>
          <p:cNvSpPr>
            <a:spLocks/>
          </p:cNvSpPr>
          <p:nvPr userDrawn="1"/>
        </p:nvSpPr>
        <p:spPr bwMode="auto">
          <a:xfrm>
            <a:off x="18850803" y="6574643"/>
            <a:ext cx="78532" cy="81156"/>
          </a:xfrm>
          <a:custGeom>
            <a:avLst/>
            <a:gdLst>
              <a:gd name="T0" fmla="*/ 6 w 15"/>
              <a:gd name="T1" fmla="*/ 1 h 15"/>
              <a:gd name="T2" fmla="*/ 14 w 15"/>
              <a:gd name="T3" fmla="*/ 6 h 15"/>
              <a:gd name="T4" fmla="*/ 9 w 15"/>
              <a:gd name="T5" fmla="*/ 14 h 15"/>
              <a:gd name="T6" fmla="*/ 1 w 15"/>
              <a:gd name="T7" fmla="*/ 9 h 15"/>
              <a:gd name="T8" fmla="*/ 6 w 15"/>
              <a:gd name="T9" fmla="*/ 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5">
                <a:moveTo>
                  <a:pt x="6" y="1"/>
                </a:moveTo>
                <a:cubicBezTo>
                  <a:pt x="9" y="0"/>
                  <a:pt x="13" y="2"/>
                  <a:pt x="14" y="6"/>
                </a:cubicBezTo>
                <a:cubicBezTo>
                  <a:pt x="15" y="9"/>
                  <a:pt x="13" y="13"/>
                  <a:pt x="9" y="14"/>
                </a:cubicBezTo>
                <a:cubicBezTo>
                  <a:pt x="5" y="15"/>
                  <a:pt x="1" y="13"/>
                  <a:pt x="1" y="9"/>
                </a:cubicBezTo>
                <a:cubicBezTo>
                  <a:pt x="0" y="5"/>
                  <a:pt x="2" y="2"/>
                  <a:pt x="6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5" name="Freeform 17">
            <a:extLst>
              <a:ext uri="{FF2B5EF4-FFF2-40B4-BE49-F238E27FC236}">
                <a16:creationId xmlns:a16="http://schemas.microsoft.com/office/drawing/2014/main" id="{8108336D-0165-4A53-8CBF-D95E5FD204F8}"/>
              </a:ext>
            </a:extLst>
          </p:cNvPr>
          <p:cNvSpPr>
            <a:spLocks/>
          </p:cNvSpPr>
          <p:nvPr userDrawn="1"/>
        </p:nvSpPr>
        <p:spPr bwMode="auto">
          <a:xfrm>
            <a:off x="17644032" y="6875702"/>
            <a:ext cx="83767" cy="83773"/>
          </a:xfrm>
          <a:custGeom>
            <a:avLst/>
            <a:gdLst>
              <a:gd name="T0" fmla="*/ 6 w 16"/>
              <a:gd name="T1" fmla="*/ 1 h 16"/>
              <a:gd name="T2" fmla="*/ 15 w 16"/>
              <a:gd name="T3" fmla="*/ 6 h 16"/>
              <a:gd name="T4" fmla="*/ 10 w 16"/>
              <a:gd name="T5" fmla="*/ 15 h 16"/>
              <a:gd name="T6" fmla="*/ 1 w 16"/>
              <a:gd name="T7" fmla="*/ 10 h 16"/>
              <a:gd name="T8" fmla="*/ 6 w 16"/>
              <a:gd name="T9" fmla="*/ 1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6">
                <a:moveTo>
                  <a:pt x="6" y="1"/>
                </a:moveTo>
                <a:cubicBezTo>
                  <a:pt x="10" y="0"/>
                  <a:pt x="14" y="2"/>
                  <a:pt x="15" y="6"/>
                </a:cubicBezTo>
                <a:cubicBezTo>
                  <a:pt x="16" y="10"/>
                  <a:pt x="14" y="14"/>
                  <a:pt x="10" y="15"/>
                </a:cubicBezTo>
                <a:cubicBezTo>
                  <a:pt x="6" y="16"/>
                  <a:pt x="2" y="13"/>
                  <a:pt x="1" y="10"/>
                </a:cubicBezTo>
                <a:cubicBezTo>
                  <a:pt x="0" y="6"/>
                  <a:pt x="3" y="2"/>
                  <a:pt x="6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6" name="Freeform 18">
            <a:extLst>
              <a:ext uri="{FF2B5EF4-FFF2-40B4-BE49-F238E27FC236}">
                <a16:creationId xmlns:a16="http://schemas.microsoft.com/office/drawing/2014/main" id="{EB98EEC7-3FCB-4B4D-A9C4-4B72CB4BE4C8}"/>
              </a:ext>
            </a:extLst>
          </p:cNvPr>
          <p:cNvSpPr>
            <a:spLocks/>
          </p:cNvSpPr>
          <p:nvPr userDrawn="1"/>
        </p:nvSpPr>
        <p:spPr bwMode="auto">
          <a:xfrm>
            <a:off x="18871744" y="6739571"/>
            <a:ext cx="75915" cy="73301"/>
          </a:xfrm>
          <a:custGeom>
            <a:avLst/>
            <a:gdLst>
              <a:gd name="T0" fmla="*/ 7 w 14"/>
              <a:gd name="T1" fmla="*/ 0 h 14"/>
              <a:gd name="T2" fmla="*/ 14 w 14"/>
              <a:gd name="T3" fmla="*/ 8 h 14"/>
              <a:gd name="T4" fmla="*/ 7 w 14"/>
              <a:gd name="T5" fmla="*/ 14 h 14"/>
              <a:gd name="T6" fmla="*/ 0 w 14"/>
              <a:gd name="T7" fmla="*/ 7 h 14"/>
              <a:gd name="T8" fmla="*/ 7 w 14"/>
              <a:gd name="T9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14">
                <a:moveTo>
                  <a:pt x="7" y="0"/>
                </a:moveTo>
                <a:cubicBezTo>
                  <a:pt x="11" y="0"/>
                  <a:pt x="14" y="4"/>
                  <a:pt x="14" y="8"/>
                </a:cubicBezTo>
                <a:cubicBezTo>
                  <a:pt x="14" y="11"/>
                  <a:pt x="11" y="14"/>
                  <a:pt x="7" y="14"/>
                </a:cubicBezTo>
                <a:cubicBezTo>
                  <a:pt x="3" y="14"/>
                  <a:pt x="0" y="11"/>
                  <a:pt x="0" y="7"/>
                </a:cubicBezTo>
                <a:cubicBezTo>
                  <a:pt x="0" y="3"/>
                  <a:pt x="3" y="0"/>
                  <a:pt x="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7" name="Freeform 19">
            <a:extLst>
              <a:ext uri="{FF2B5EF4-FFF2-40B4-BE49-F238E27FC236}">
                <a16:creationId xmlns:a16="http://schemas.microsoft.com/office/drawing/2014/main" id="{F16D3439-C862-47B3-BA8E-8C155B665590}"/>
              </a:ext>
            </a:extLst>
          </p:cNvPr>
          <p:cNvSpPr>
            <a:spLocks/>
          </p:cNvSpPr>
          <p:nvPr userDrawn="1"/>
        </p:nvSpPr>
        <p:spPr bwMode="auto">
          <a:xfrm>
            <a:off x="17633561" y="6718628"/>
            <a:ext cx="73296" cy="73301"/>
          </a:xfrm>
          <a:custGeom>
            <a:avLst/>
            <a:gdLst>
              <a:gd name="T0" fmla="*/ 7 w 14"/>
              <a:gd name="T1" fmla="*/ 0 h 14"/>
              <a:gd name="T2" fmla="*/ 14 w 14"/>
              <a:gd name="T3" fmla="*/ 7 h 14"/>
              <a:gd name="T4" fmla="*/ 6 w 14"/>
              <a:gd name="T5" fmla="*/ 14 h 14"/>
              <a:gd name="T6" fmla="*/ 0 w 14"/>
              <a:gd name="T7" fmla="*/ 7 h 14"/>
              <a:gd name="T8" fmla="*/ 7 w 14"/>
              <a:gd name="T9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14">
                <a:moveTo>
                  <a:pt x="7" y="0"/>
                </a:moveTo>
                <a:cubicBezTo>
                  <a:pt x="11" y="0"/>
                  <a:pt x="14" y="3"/>
                  <a:pt x="14" y="7"/>
                </a:cubicBezTo>
                <a:cubicBezTo>
                  <a:pt x="14" y="11"/>
                  <a:pt x="10" y="14"/>
                  <a:pt x="6" y="14"/>
                </a:cubicBezTo>
                <a:cubicBezTo>
                  <a:pt x="3" y="14"/>
                  <a:pt x="0" y="11"/>
                  <a:pt x="0" y="7"/>
                </a:cubicBezTo>
                <a:cubicBezTo>
                  <a:pt x="0" y="3"/>
                  <a:pt x="3" y="0"/>
                  <a:pt x="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8" name="Freeform 20">
            <a:extLst>
              <a:ext uri="{FF2B5EF4-FFF2-40B4-BE49-F238E27FC236}">
                <a16:creationId xmlns:a16="http://schemas.microsoft.com/office/drawing/2014/main" id="{6C2F29A7-29F7-4242-AF6C-75C2BDBDD99E}"/>
              </a:ext>
            </a:extLst>
          </p:cNvPr>
          <p:cNvSpPr>
            <a:spLocks/>
          </p:cNvSpPr>
          <p:nvPr userDrawn="1"/>
        </p:nvSpPr>
        <p:spPr bwMode="auto">
          <a:xfrm>
            <a:off x="18850803" y="6880938"/>
            <a:ext cx="78532" cy="83773"/>
          </a:xfrm>
          <a:custGeom>
            <a:avLst/>
            <a:gdLst>
              <a:gd name="T0" fmla="*/ 9 w 15"/>
              <a:gd name="T1" fmla="*/ 1 h 16"/>
              <a:gd name="T2" fmla="*/ 14 w 15"/>
              <a:gd name="T3" fmla="*/ 10 h 16"/>
              <a:gd name="T4" fmla="*/ 6 w 15"/>
              <a:gd name="T5" fmla="*/ 15 h 16"/>
              <a:gd name="T6" fmla="*/ 1 w 15"/>
              <a:gd name="T7" fmla="*/ 6 h 16"/>
              <a:gd name="T8" fmla="*/ 9 w 15"/>
              <a:gd name="T9" fmla="*/ 1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6">
                <a:moveTo>
                  <a:pt x="9" y="1"/>
                </a:moveTo>
                <a:cubicBezTo>
                  <a:pt x="13" y="2"/>
                  <a:pt x="15" y="6"/>
                  <a:pt x="14" y="10"/>
                </a:cubicBezTo>
                <a:cubicBezTo>
                  <a:pt x="13" y="14"/>
                  <a:pt x="10" y="16"/>
                  <a:pt x="6" y="15"/>
                </a:cubicBezTo>
                <a:cubicBezTo>
                  <a:pt x="2" y="14"/>
                  <a:pt x="0" y="10"/>
                  <a:pt x="1" y="6"/>
                </a:cubicBezTo>
                <a:cubicBezTo>
                  <a:pt x="2" y="3"/>
                  <a:pt x="6" y="0"/>
                  <a:pt x="9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9" name="Freeform 21">
            <a:extLst>
              <a:ext uri="{FF2B5EF4-FFF2-40B4-BE49-F238E27FC236}">
                <a16:creationId xmlns:a16="http://schemas.microsoft.com/office/drawing/2014/main" id="{0E42F2D8-FC49-4E6A-8B1D-5C7437119FBE}"/>
              </a:ext>
            </a:extLst>
          </p:cNvPr>
          <p:cNvSpPr>
            <a:spLocks/>
          </p:cNvSpPr>
          <p:nvPr userDrawn="1"/>
        </p:nvSpPr>
        <p:spPr bwMode="auto">
          <a:xfrm>
            <a:off x="17649268" y="6548463"/>
            <a:ext cx="83767" cy="86392"/>
          </a:xfrm>
          <a:custGeom>
            <a:avLst/>
            <a:gdLst>
              <a:gd name="T0" fmla="*/ 10 w 16"/>
              <a:gd name="T1" fmla="*/ 1 h 16"/>
              <a:gd name="T2" fmla="*/ 15 w 16"/>
              <a:gd name="T3" fmla="*/ 10 h 16"/>
              <a:gd name="T4" fmla="*/ 6 w 16"/>
              <a:gd name="T5" fmla="*/ 15 h 16"/>
              <a:gd name="T6" fmla="*/ 2 w 16"/>
              <a:gd name="T7" fmla="*/ 6 h 16"/>
              <a:gd name="T8" fmla="*/ 10 w 16"/>
              <a:gd name="T9" fmla="*/ 1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6">
                <a:moveTo>
                  <a:pt x="10" y="1"/>
                </a:moveTo>
                <a:cubicBezTo>
                  <a:pt x="14" y="2"/>
                  <a:pt x="16" y="6"/>
                  <a:pt x="15" y="10"/>
                </a:cubicBezTo>
                <a:cubicBezTo>
                  <a:pt x="14" y="14"/>
                  <a:pt x="10" y="16"/>
                  <a:pt x="6" y="15"/>
                </a:cubicBezTo>
                <a:cubicBezTo>
                  <a:pt x="3" y="14"/>
                  <a:pt x="0" y="10"/>
                  <a:pt x="2" y="6"/>
                </a:cubicBezTo>
                <a:cubicBezTo>
                  <a:pt x="3" y="2"/>
                  <a:pt x="7" y="0"/>
                  <a:pt x="1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Freeform 22">
            <a:extLst>
              <a:ext uri="{FF2B5EF4-FFF2-40B4-BE49-F238E27FC236}">
                <a16:creationId xmlns:a16="http://schemas.microsoft.com/office/drawing/2014/main" id="{6C9C1002-1CC8-4779-98FF-638FA0081739}"/>
              </a:ext>
            </a:extLst>
          </p:cNvPr>
          <p:cNvSpPr>
            <a:spLocks/>
          </p:cNvSpPr>
          <p:nvPr userDrawn="1"/>
        </p:nvSpPr>
        <p:spPr bwMode="auto">
          <a:xfrm>
            <a:off x="18782742" y="7032777"/>
            <a:ext cx="83767" cy="83773"/>
          </a:xfrm>
          <a:custGeom>
            <a:avLst/>
            <a:gdLst>
              <a:gd name="T0" fmla="*/ 12 w 16"/>
              <a:gd name="T1" fmla="*/ 2 h 16"/>
              <a:gd name="T2" fmla="*/ 15 w 16"/>
              <a:gd name="T3" fmla="*/ 12 h 16"/>
              <a:gd name="T4" fmla="*/ 5 w 16"/>
              <a:gd name="T5" fmla="*/ 14 h 16"/>
              <a:gd name="T6" fmla="*/ 2 w 16"/>
              <a:gd name="T7" fmla="*/ 5 h 16"/>
              <a:gd name="T8" fmla="*/ 12 w 16"/>
              <a:gd name="T9" fmla="*/ 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6">
                <a:moveTo>
                  <a:pt x="12" y="2"/>
                </a:moveTo>
                <a:cubicBezTo>
                  <a:pt x="15" y="4"/>
                  <a:pt x="16" y="9"/>
                  <a:pt x="15" y="12"/>
                </a:cubicBezTo>
                <a:cubicBezTo>
                  <a:pt x="13" y="15"/>
                  <a:pt x="8" y="16"/>
                  <a:pt x="5" y="14"/>
                </a:cubicBezTo>
                <a:cubicBezTo>
                  <a:pt x="2" y="13"/>
                  <a:pt x="0" y="8"/>
                  <a:pt x="2" y="5"/>
                </a:cubicBezTo>
                <a:cubicBezTo>
                  <a:pt x="4" y="2"/>
                  <a:pt x="9" y="0"/>
                  <a:pt x="12" y="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1" name="Freeform 23">
            <a:extLst>
              <a:ext uri="{FF2B5EF4-FFF2-40B4-BE49-F238E27FC236}">
                <a16:creationId xmlns:a16="http://schemas.microsoft.com/office/drawing/2014/main" id="{10052550-C041-4E61-92D8-AF8A93BA4912}"/>
              </a:ext>
            </a:extLst>
          </p:cNvPr>
          <p:cNvSpPr>
            <a:spLocks/>
          </p:cNvSpPr>
          <p:nvPr userDrawn="1"/>
        </p:nvSpPr>
        <p:spPr bwMode="auto">
          <a:xfrm>
            <a:off x="17712093" y="6417568"/>
            <a:ext cx="83767" cy="83773"/>
          </a:xfrm>
          <a:custGeom>
            <a:avLst/>
            <a:gdLst>
              <a:gd name="T0" fmla="*/ 11 w 16"/>
              <a:gd name="T1" fmla="*/ 2 h 16"/>
              <a:gd name="T2" fmla="*/ 14 w 16"/>
              <a:gd name="T3" fmla="*/ 11 h 16"/>
              <a:gd name="T4" fmla="*/ 4 w 16"/>
              <a:gd name="T5" fmla="*/ 14 h 16"/>
              <a:gd name="T6" fmla="*/ 1 w 16"/>
              <a:gd name="T7" fmla="*/ 4 h 16"/>
              <a:gd name="T8" fmla="*/ 11 w 16"/>
              <a:gd name="T9" fmla="*/ 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6">
                <a:moveTo>
                  <a:pt x="11" y="2"/>
                </a:moveTo>
                <a:cubicBezTo>
                  <a:pt x="14" y="4"/>
                  <a:pt x="16" y="8"/>
                  <a:pt x="14" y="11"/>
                </a:cubicBezTo>
                <a:cubicBezTo>
                  <a:pt x="12" y="15"/>
                  <a:pt x="7" y="16"/>
                  <a:pt x="4" y="14"/>
                </a:cubicBezTo>
                <a:cubicBezTo>
                  <a:pt x="1" y="12"/>
                  <a:pt x="0" y="8"/>
                  <a:pt x="1" y="4"/>
                </a:cubicBezTo>
                <a:cubicBezTo>
                  <a:pt x="3" y="1"/>
                  <a:pt x="8" y="0"/>
                  <a:pt x="11" y="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2" name="Freeform 24">
            <a:extLst>
              <a:ext uri="{FF2B5EF4-FFF2-40B4-BE49-F238E27FC236}">
                <a16:creationId xmlns:a16="http://schemas.microsoft.com/office/drawing/2014/main" id="{4BDC149F-A265-4D6E-8542-29BF24240F22}"/>
              </a:ext>
            </a:extLst>
          </p:cNvPr>
          <p:cNvSpPr>
            <a:spLocks/>
          </p:cNvSpPr>
          <p:nvPr userDrawn="1"/>
        </p:nvSpPr>
        <p:spPr bwMode="auto">
          <a:xfrm>
            <a:off x="18688505" y="7168908"/>
            <a:ext cx="78532" cy="78537"/>
          </a:xfrm>
          <a:custGeom>
            <a:avLst/>
            <a:gdLst>
              <a:gd name="T0" fmla="*/ 12 w 15"/>
              <a:gd name="T1" fmla="*/ 2 h 15"/>
              <a:gd name="T2" fmla="*/ 12 w 15"/>
              <a:gd name="T3" fmla="*/ 12 h 15"/>
              <a:gd name="T4" fmla="*/ 2 w 15"/>
              <a:gd name="T5" fmla="*/ 12 h 15"/>
              <a:gd name="T6" fmla="*/ 2 w 15"/>
              <a:gd name="T7" fmla="*/ 2 h 15"/>
              <a:gd name="T8" fmla="*/ 12 w 15"/>
              <a:gd name="T9" fmla="*/ 2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5">
                <a:moveTo>
                  <a:pt x="12" y="2"/>
                </a:moveTo>
                <a:cubicBezTo>
                  <a:pt x="15" y="5"/>
                  <a:pt x="15" y="9"/>
                  <a:pt x="12" y="12"/>
                </a:cubicBezTo>
                <a:cubicBezTo>
                  <a:pt x="10" y="15"/>
                  <a:pt x="5" y="15"/>
                  <a:pt x="2" y="12"/>
                </a:cubicBezTo>
                <a:cubicBezTo>
                  <a:pt x="0" y="9"/>
                  <a:pt x="0" y="5"/>
                  <a:pt x="2" y="2"/>
                </a:cubicBezTo>
                <a:cubicBezTo>
                  <a:pt x="5" y="0"/>
                  <a:pt x="10" y="0"/>
                  <a:pt x="12" y="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3" name="Freeform 25">
            <a:extLst>
              <a:ext uri="{FF2B5EF4-FFF2-40B4-BE49-F238E27FC236}">
                <a16:creationId xmlns:a16="http://schemas.microsoft.com/office/drawing/2014/main" id="{AA79D8C8-0556-428D-9608-0D6D2DE3DAAA}"/>
              </a:ext>
            </a:extLst>
          </p:cNvPr>
          <p:cNvSpPr>
            <a:spLocks/>
          </p:cNvSpPr>
          <p:nvPr userDrawn="1"/>
        </p:nvSpPr>
        <p:spPr bwMode="auto">
          <a:xfrm>
            <a:off x="17811567" y="6286674"/>
            <a:ext cx="78532" cy="78537"/>
          </a:xfrm>
          <a:custGeom>
            <a:avLst/>
            <a:gdLst>
              <a:gd name="T0" fmla="*/ 13 w 15"/>
              <a:gd name="T1" fmla="*/ 3 h 15"/>
              <a:gd name="T2" fmla="*/ 13 w 15"/>
              <a:gd name="T3" fmla="*/ 13 h 15"/>
              <a:gd name="T4" fmla="*/ 3 w 15"/>
              <a:gd name="T5" fmla="*/ 13 h 15"/>
              <a:gd name="T6" fmla="*/ 3 w 15"/>
              <a:gd name="T7" fmla="*/ 3 h 15"/>
              <a:gd name="T8" fmla="*/ 13 w 15"/>
              <a:gd name="T9" fmla="*/ 3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5">
                <a:moveTo>
                  <a:pt x="13" y="3"/>
                </a:moveTo>
                <a:cubicBezTo>
                  <a:pt x="15" y="6"/>
                  <a:pt x="15" y="10"/>
                  <a:pt x="13" y="13"/>
                </a:cubicBezTo>
                <a:cubicBezTo>
                  <a:pt x="10" y="15"/>
                  <a:pt x="5" y="15"/>
                  <a:pt x="3" y="13"/>
                </a:cubicBezTo>
                <a:cubicBezTo>
                  <a:pt x="0" y="10"/>
                  <a:pt x="0" y="5"/>
                  <a:pt x="3" y="3"/>
                </a:cubicBezTo>
                <a:cubicBezTo>
                  <a:pt x="5" y="0"/>
                  <a:pt x="10" y="0"/>
                  <a:pt x="13" y="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4" name="Freeform 26">
            <a:extLst>
              <a:ext uri="{FF2B5EF4-FFF2-40B4-BE49-F238E27FC236}">
                <a16:creationId xmlns:a16="http://schemas.microsoft.com/office/drawing/2014/main" id="{BEADC635-4EF2-485C-9350-2331CA8554AA}"/>
              </a:ext>
            </a:extLst>
          </p:cNvPr>
          <p:cNvSpPr>
            <a:spLocks/>
          </p:cNvSpPr>
          <p:nvPr userDrawn="1"/>
        </p:nvSpPr>
        <p:spPr bwMode="auto">
          <a:xfrm>
            <a:off x="18557618" y="7263152"/>
            <a:ext cx="83767" cy="83773"/>
          </a:xfrm>
          <a:custGeom>
            <a:avLst/>
            <a:gdLst>
              <a:gd name="T0" fmla="*/ 14 w 16"/>
              <a:gd name="T1" fmla="*/ 4 h 16"/>
              <a:gd name="T2" fmla="*/ 11 w 16"/>
              <a:gd name="T3" fmla="*/ 14 h 16"/>
              <a:gd name="T4" fmla="*/ 2 w 16"/>
              <a:gd name="T5" fmla="*/ 12 h 16"/>
              <a:gd name="T6" fmla="*/ 4 w 16"/>
              <a:gd name="T7" fmla="*/ 2 h 16"/>
              <a:gd name="T8" fmla="*/ 14 w 16"/>
              <a:gd name="T9" fmla="*/ 4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6">
                <a:moveTo>
                  <a:pt x="14" y="4"/>
                </a:moveTo>
                <a:cubicBezTo>
                  <a:pt x="16" y="8"/>
                  <a:pt x="15" y="12"/>
                  <a:pt x="11" y="14"/>
                </a:cubicBezTo>
                <a:cubicBezTo>
                  <a:pt x="8" y="16"/>
                  <a:pt x="4" y="15"/>
                  <a:pt x="2" y="12"/>
                </a:cubicBezTo>
                <a:cubicBezTo>
                  <a:pt x="0" y="8"/>
                  <a:pt x="1" y="4"/>
                  <a:pt x="4" y="2"/>
                </a:cubicBezTo>
                <a:cubicBezTo>
                  <a:pt x="8" y="0"/>
                  <a:pt x="12" y="1"/>
                  <a:pt x="14" y="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5" name="Freeform 27">
            <a:extLst>
              <a:ext uri="{FF2B5EF4-FFF2-40B4-BE49-F238E27FC236}">
                <a16:creationId xmlns:a16="http://schemas.microsoft.com/office/drawing/2014/main" id="{49533521-7A88-4DF7-91E9-ECAFABB20623}"/>
              </a:ext>
            </a:extLst>
          </p:cNvPr>
          <p:cNvSpPr>
            <a:spLocks/>
          </p:cNvSpPr>
          <p:nvPr userDrawn="1"/>
        </p:nvSpPr>
        <p:spPr bwMode="auto">
          <a:xfrm>
            <a:off x="17937217" y="6187192"/>
            <a:ext cx="86386" cy="83773"/>
          </a:xfrm>
          <a:custGeom>
            <a:avLst/>
            <a:gdLst>
              <a:gd name="T0" fmla="*/ 15 w 16"/>
              <a:gd name="T1" fmla="*/ 4 h 16"/>
              <a:gd name="T2" fmla="*/ 12 w 16"/>
              <a:gd name="T3" fmla="*/ 14 h 16"/>
              <a:gd name="T4" fmla="*/ 2 w 16"/>
              <a:gd name="T5" fmla="*/ 11 h 16"/>
              <a:gd name="T6" fmla="*/ 5 w 16"/>
              <a:gd name="T7" fmla="*/ 2 h 16"/>
              <a:gd name="T8" fmla="*/ 15 w 16"/>
              <a:gd name="T9" fmla="*/ 4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6">
                <a:moveTo>
                  <a:pt x="15" y="4"/>
                </a:moveTo>
                <a:cubicBezTo>
                  <a:pt x="16" y="8"/>
                  <a:pt x="15" y="12"/>
                  <a:pt x="12" y="14"/>
                </a:cubicBezTo>
                <a:cubicBezTo>
                  <a:pt x="9" y="16"/>
                  <a:pt x="4" y="15"/>
                  <a:pt x="2" y="11"/>
                </a:cubicBezTo>
                <a:cubicBezTo>
                  <a:pt x="0" y="8"/>
                  <a:pt x="2" y="4"/>
                  <a:pt x="5" y="2"/>
                </a:cubicBezTo>
                <a:cubicBezTo>
                  <a:pt x="8" y="0"/>
                  <a:pt x="13" y="1"/>
                  <a:pt x="15" y="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6" name="Freeform 28">
            <a:extLst>
              <a:ext uri="{FF2B5EF4-FFF2-40B4-BE49-F238E27FC236}">
                <a16:creationId xmlns:a16="http://schemas.microsoft.com/office/drawing/2014/main" id="{E787691F-6BB8-4CF4-B269-99BE57DDC7EB}"/>
              </a:ext>
            </a:extLst>
          </p:cNvPr>
          <p:cNvSpPr>
            <a:spLocks/>
          </p:cNvSpPr>
          <p:nvPr userDrawn="1"/>
        </p:nvSpPr>
        <p:spPr bwMode="auto">
          <a:xfrm>
            <a:off x="18421497" y="7325983"/>
            <a:ext cx="78532" cy="78537"/>
          </a:xfrm>
          <a:custGeom>
            <a:avLst/>
            <a:gdLst>
              <a:gd name="T0" fmla="*/ 14 w 15"/>
              <a:gd name="T1" fmla="*/ 6 h 15"/>
              <a:gd name="T2" fmla="*/ 9 w 15"/>
              <a:gd name="T3" fmla="*/ 14 h 15"/>
              <a:gd name="T4" fmla="*/ 1 w 15"/>
              <a:gd name="T5" fmla="*/ 9 h 15"/>
              <a:gd name="T6" fmla="*/ 6 w 15"/>
              <a:gd name="T7" fmla="*/ 1 h 15"/>
              <a:gd name="T8" fmla="*/ 14 w 15"/>
              <a:gd name="T9" fmla="*/ 6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5">
                <a:moveTo>
                  <a:pt x="14" y="6"/>
                </a:moveTo>
                <a:cubicBezTo>
                  <a:pt x="15" y="9"/>
                  <a:pt x="13" y="13"/>
                  <a:pt x="9" y="14"/>
                </a:cubicBezTo>
                <a:cubicBezTo>
                  <a:pt x="6" y="15"/>
                  <a:pt x="2" y="13"/>
                  <a:pt x="1" y="9"/>
                </a:cubicBezTo>
                <a:cubicBezTo>
                  <a:pt x="0" y="6"/>
                  <a:pt x="2" y="2"/>
                  <a:pt x="6" y="1"/>
                </a:cubicBezTo>
                <a:cubicBezTo>
                  <a:pt x="9" y="0"/>
                  <a:pt x="13" y="2"/>
                  <a:pt x="14" y="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7" name="Freeform 29">
            <a:extLst>
              <a:ext uri="{FF2B5EF4-FFF2-40B4-BE49-F238E27FC236}">
                <a16:creationId xmlns:a16="http://schemas.microsoft.com/office/drawing/2014/main" id="{35E8880C-9C52-42A4-A7FA-FA42ABF851C4}"/>
              </a:ext>
            </a:extLst>
          </p:cNvPr>
          <p:cNvSpPr>
            <a:spLocks/>
          </p:cNvSpPr>
          <p:nvPr userDrawn="1"/>
        </p:nvSpPr>
        <p:spPr bwMode="auto">
          <a:xfrm>
            <a:off x="18091663" y="6129599"/>
            <a:ext cx="83767" cy="78537"/>
          </a:xfrm>
          <a:custGeom>
            <a:avLst/>
            <a:gdLst>
              <a:gd name="T0" fmla="*/ 15 w 16"/>
              <a:gd name="T1" fmla="*/ 6 h 15"/>
              <a:gd name="T2" fmla="*/ 10 w 16"/>
              <a:gd name="T3" fmla="*/ 14 h 15"/>
              <a:gd name="T4" fmla="*/ 1 w 16"/>
              <a:gd name="T5" fmla="*/ 9 h 15"/>
              <a:gd name="T6" fmla="*/ 6 w 16"/>
              <a:gd name="T7" fmla="*/ 1 h 15"/>
              <a:gd name="T8" fmla="*/ 15 w 16"/>
              <a:gd name="T9" fmla="*/ 6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6" h="15">
                <a:moveTo>
                  <a:pt x="15" y="6"/>
                </a:moveTo>
                <a:cubicBezTo>
                  <a:pt x="16" y="9"/>
                  <a:pt x="13" y="13"/>
                  <a:pt x="10" y="14"/>
                </a:cubicBezTo>
                <a:cubicBezTo>
                  <a:pt x="6" y="15"/>
                  <a:pt x="2" y="13"/>
                  <a:pt x="1" y="9"/>
                </a:cubicBezTo>
                <a:cubicBezTo>
                  <a:pt x="0" y="5"/>
                  <a:pt x="2" y="2"/>
                  <a:pt x="6" y="1"/>
                </a:cubicBezTo>
                <a:cubicBezTo>
                  <a:pt x="10" y="0"/>
                  <a:pt x="14" y="2"/>
                  <a:pt x="15" y="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8" name="Freeform 30">
            <a:extLst>
              <a:ext uri="{FF2B5EF4-FFF2-40B4-BE49-F238E27FC236}">
                <a16:creationId xmlns:a16="http://schemas.microsoft.com/office/drawing/2014/main" id="{00ABAAE4-BD41-430C-9EBD-59B96A316098}"/>
              </a:ext>
            </a:extLst>
          </p:cNvPr>
          <p:cNvSpPr>
            <a:spLocks/>
          </p:cNvSpPr>
          <p:nvPr userDrawn="1"/>
        </p:nvSpPr>
        <p:spPr bwMode="auto">
          <a:xfrm>
            <a:off x="18248727" y="7346925"/>
            <a:ext cx="78532" cy="73301"/>
          </a:xfrm>
          <a:custGeom>
            <a:avLst/>
            <a:gdLst>
              <a:gd name="T0" fmla="*/ 15 w 15"/>
              <a:gd name="T1" fmla="*/ 8 h 14"/>
              <a:gd name="T2" fmla="*/ 7 w 15"/>
              <a:gd name="T3" fmla="*/ 14 h 14"/>
              <a:gd name="T4" fmla="*/ 1 w 15"/>
              <a:gd name="T5" fmla="*/ 7 h 14"/>
              <a:gd name="T6" fmla="*/ 8 w 15"/>
              <a:gd name="T7" fmla="*/ 0 h 14"/>
              <a:gd name="T8" fmla="*/ 15 w 15"/>
              <a:gd name="T9" fmla="*/ 8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4">
                <a:moveTo>
                  <a:pt x="15" y="8"/>
                </a:moveTo>
                <a:cubicBezTo>
                  <a:pt x="14" y="11"/>
                  <a:pt x="11" y="14"/>
                  <a:pt x="7" y="14"/>
                </a:cubicBezTo>
                <a:cubicBezTo>
                  <a:pt x="3" y="14"/>
                  <a:pt x="0" y="11"/>
                  <a:pt x="1" y="7"/>
                </a:cubicBezTo>
                <a:cubicBezTo>
                  <a:pt x="1" y="3"/>
                  <a:pt x="4" y="0"/>
                  <a:pt x="8" y="0"/>
                </a:cubicBezTo>
                <a:cubicBezTo>
                  <a:pt x="12" y="0"/>
                  <a:pt x="15" y="4"/>
                  <a:pt x="15" y="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9" name="Oval 31">
            <a:extLst>
              <a:ext uri="{FF2B5EF4-FFF2-40B4-BE49-F238E27FC236}">
                <a16:creationId xmlns:a16="http://schemas.microsoft.com/office/drawing/2014/main" id="{37B64A01-A15F-4AD9-B23A-F40D4A54463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8243491" y="6113891"/>
            <a:ext cx="73296" cy="7330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0" name="Oval 32">
            <a:extLst>
              <a:ext uri="{FF2B5EF4-FFF2-40B4-BE49-F238E27FC236}">
                <a16:creationId xmlns:a16="http://schemas.microsoft.com/office/drawing/2014/main" id="{945FB898-E3D0-42D2-AF0C-2242FC63ACD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6102195" y="8632316"/>
            <a:ext cx="774846" cy="774900"/>
          </a:xfrm>
          <a:prstGeom prst="ellipse">
            <a:avLst/>
          </a:pr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1" name="Freeform 33">
            <a:extLst>
              <a:ext uri="{FF2B5EF4-FFF2-40B4-BE49-F238E27FC236}">
                <a16:creationId xmlns:a16="http://schemas.microsoft.com/office/drawing/2014/main" id="{4AD5672B-5065-4D26-BB13-AADF28ECAD72}"/>
              </a:ext>
            </a:extLst>
          </p:cNvPr>
          <p:cNvSpPr>
            <a:spLocks/>
          </p:cNvSpPr>
          <p:nvPr userDrawn="1"/>
        </p:nvSpPr>
        <p:spPr bwMode="auto">
          <a:xfrm>
            <a:off x="15136256" y="8705618"/>
            <a:ext cx="821965" cy="602118"/>
          </a:xfrm>
          <a:custGeom>
            <a:avLst/>
            <a:gdLst>
              <a:gd name="T0" fmla="*/ 0 w 314"/>
              <a:gd name="T1" fmla="*/ 92 h 230"/>
              <a:gd name="T2" fmla="*/ 0 w 314"/>
              <a:gd name="T3" fmla="*/ 136 h 230"/>
              <a:gd name="T4" fmla="*/ 126 w 314"/>
              <a:gd name="T5" fmla="*/ 136 h 230"/>
              <a:gd name="T6" fmla="*/ 88 w 314"/>
              <a:gd name="T7" fmla="*/ 230 h 230"/>
              <a:gd name="T8" fmla="*/ 314 w 314"/>
              <a:gd name="T9" fmla="*/ 116 h 230"/>
              <a:gd name="T10" fmla="*/ 88 w 314"/>
              <a:gd name="T11" fmla="*/ 0 h 230"/>
              <a:gd name="T12" fmla="*/ 126 w 314"/>
              <a:gd name="T13" fmla="*/ 92 h 230"/>
              <a:gd name="T14" fmla="*/ 0 w 314"/>
              <a:gd name="T15" fmla="*/ 92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14" h="230">
                <a:moveTo>
                  <a:pt x="0" y="92"/>
                </a:moveTo>
                <a:lnTo>
                  <a:pt x="0" y="136"/>
                </a:lnTo>
                <a:lnTo>
                  <a:pt x="126" y="136"/>
                </a:lnTo>
                <a:lnTo>
                  <a:pt x="88" y="230"/>
                </a:lnTo>
                <a:lnTo>
                  <a:pt x="314" y="116"/>
                </a:lnTo>
                <a:lnTo>
                  <a:pt x="88" y="0"/>
                </a:lnTo>
                <a:lnTo>
                  <a:pt x="126" y="92"/>
                </a:lnTo>
                <a:lnTo>
                  <a:pt x="0" y="92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2" name="Freeform 34">
            <a:extLst>
              <a:ext uri="{FF2B5EF4-FFF2-40B4-BE49-F238E27FC236}">
                <a16:creationId xmlns:a16="http://schemas.microsoft.com/office/drawing/2014/main" id="{0DA929B5-0837-4BCA-A82F-56D8EF790400}"/>
              </a:ext>
            </a:extLst>
          </p:cNvPr>
          <p:cNvSpPr>
            <a:spLocks/>
          </p:cNvSpPr>
          <p:nvPr userDrawn="1"/>
        </p:nvSpPr>
        <p:spPr bwMode="auto">
          <a:xfrm>
            <a:off x="17028869" y="8705618"/>
            <a:ext cx="824583" cy="602118"/>
          </a:xfrm>
          <a:custGeom>
            <a:avLst/>
            <a:gdLst>
              <a:gd name="T0" fmla="*/ 315 w 315"/>
              <a:gd name="T1" fmla="*/ 138 h 230"/>
              <a:gd name="T2" fmla="*/ 315 w 315"/>
              <a:gd name="T3" fmla="*/ 94 h 230"/>
              <a:gd name="T4" fmla="*/ 187 w 315"/>
              <a:gd name="T5" fmla="*/ 94 h 230"/>
              <a:gd name="T6" fmla="*/ 225 w 315"/>
              <a:gd name="T7" fmla="*/ 0 h 230"/>
              <a:gd name="T8" fmla="*/ 0 w 315"/>
              <a:gd name="T9" fmla="*/ 114 h 230"/>
              <a:gd name="T10" fmla="*/ 225 w 315"/>
              <a:gd name="T11" fmla="*/ 230 h 230"/>
              <a:gd name="T12" fmla="*/ 187 w 315"/>
              <a:gd name="T13" fmla="*/ 138 h 230"/>
              <a:gd name="T14" fmla="*/ 315 w 315"/>
              <a:gd name="T15" fmla="*/ 138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15" h="230">
                <a:moveTo>
                  <a:pt x="315" y="138"/>
                </a:moveTo>
                <a:lnTo>
                  <a:pt x="315" y="94"/>
                </a:lnTo>
                <a:lnTo>
                  <a:pt x="187" y="94"/>
                </a:lnTo>
                <a:lnTo>
                  <a:pt x="225" y="0"/>
                </a:lnTo>
                <a:lnTo>
                  <a:pt x="0" y="114"/>
                </a:lnTo>
                <a:lnTo>
                  <a:pt x="225" y="230"/>
                </a:lnTo>
                <a:lnTo>
                  <a:pt x="187" y="138"/>
                </a:lnTo>
                <a:lnTo>
                  <a:pt x="315" y="138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3" name="Freeform 35">
            <a:extLst>
              <a:ext uri="{FF2B5EF4-FFF2-40B4-BE49-F238E27FC236}">
                <a16:creationId xmlns:a16="http://schemas.microsoft.com/office/drawing/2014/main" id="{119131FE-694E-4E45-9CD9-0A20042034F3}"/>
              </a:ext>
            </a:extLst>
          </p:cNvPr>
          <p:cNvSpPr>
            <a:spLocks/>
          </p:cNvSpPr>
          <p:nvPr userDrawn="1"/>
        </p:nvSpPr>
        <p:spPr bwMode="auto">
          <a:xfrm>
            <a:off x="14175552" y="6255258"/>
            <a:ext cx="502603" cy="651859"/>
          </a:xfrm>
          <a:custGeom>
            <a:avLst/>
            <a:gdLst>
              <a:gd name="T0" fmla="*/ 192 w 192"/>
              <a:gd name="T1" fmla="*/ 0 h 249"/>
              <a:gd name="T2" fmla="*/ 192 w 192"/>
              <a:gd name="T3" fmla="*/ 48 h 249"/>
              <a:gd name="T4" fmla="*/ 62 w 192"/>
              <a:gd name="T5" fmla="*/ 48 h 249"/>
              <a:gd name="T6" fmla="*/ 62 w 192"/>
              <a:gd name="T7" fmla="*/ 100 h 249"/>
              <a:gd name="T8" fmla="*/ 180 w 192"/>
              <a:gd name="T9" fmla="*/ 100 h 249"/>
              <a:gd name="T10" fmla="*/ 180 w 192"/>
              <a:gd name="T11" fmla="*/ 149 h 249"/>
              <a:gd name="T12" fmla="*/ 62 w 192"/>
              <a:gd name="T13" fmla="*/ 149 h 249"/>
              <a:gd name="T14" fmla="*/ 62 w 192"/>
              <a:gd name="T15" fmla="*/ 249 h 249"/>
              <a:gd name="T16" fmla="*/ 0 w 192"/>
              <a:gd name="T17" fmla="*/ 249 h 249"/>
              <a:gd name="T18" fmla="*/ 0 w 192"/>
              <a:gd name="T19" fmla="*/ 0 h 249"/>
              <a:gd name="T20" fmla="*/ 192 w 192"/>
              <a:gd name="T21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92" h="249">
                <a:moveTo>
                  <a:pt x="192" y="0"/>
                </a:moveTo>
                <a:lnTo>
                  <a:pt x="192" y="48"/>
                </a:lnTo>
                <a:lnTo>
                  <a:pt x="62" y="48"/>
                </a:lnTo>
                <a:lnTo>
                  <a:pt x="62" y="100"/>
                </a:lnTo>
                <a:lnTo>
                  <a:pt x="180" y="100"/>
                </a:lnTo>
                <a:lnTo>
                  <a:pt x="180" y="149"/>
                </a:lnTo>
                <a:lnTo>
                  <a:pt x="62" y="149"/>
                </a:lnTo>
                <a:lnTo>
                  <a:pt x="62" y="249"/>
                </a:lnTo>
                <a:lnTo>
                  <a:pt x="0" y="249"/>
                </a:lnTo>
                <a:lnTo>
                  <a:pt x="0" y="0"/>
                </a:lnTo>
                <a:lnTo>
                  <a:pt x="192" y="0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4" name="Rectangle 36">
            <a:extLst>
              <a:ext uri="{FF2B5EF4-FFF2-40B4-BE49-F238E27FC236}">
                <a16:creationId xmlns:a16="http://schemas.microsoft.com/office/drawing/2014/main" id="{42A9D08F-5DF8-4F5C-BB9B-2DF0DB8FF82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740981" y="6255258"/>
            <a:ext cx="162299" cy="651859"/>
          </a:xfrm>
          <a:prstGeom prst="rect">
            <a:avLst/>
          </a:pr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5" name="Freeform 37">
            <a:extLst>
              <a:ext uri="{FF2B5EF4-FFF2-40B4-BE49-F238E27FC236}">
                <a16:creationId xmlns:a16="http://schemas.microsoft.com/office/drawing/2014/main" id="{36BC4959-0D58-4707-924B-E0687C1CDAB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5018459" y="6255258"/>
            <a:ext cx="578517" cy="651859"/>
          </a:xfrm>
          <a:custGeom>
            <a:avLst/>
            <a:gdLst>
              <a:gd name="T0" fmla="*/ 59 w 110"/>
              <a:gd name="T1" fmla="*/ 0 h 124"/>
              <a:gd name="T2" fmla="*/ 107 w 110"/>
              <a:gd name="T3" fmla="*/ 40 h 124"/>
              <a:gd name="T4" fmla="*/ 81 w 110"/>
              <a:gd name="T5" fmla="*/ 75 h 124"/>
              <a:gd name="T6" fmla="*/ 110 w 110"/>
              <a:gd name="T7" fmla="*/ 124 h 124"/>
              <a:gd name="T8" fmla="*/ 76 w 110"/>
              <a:gd name="T9" fmla="*/ 124 h 124"/>
              <a:gd name="T10" fmla="*/ 51 w 110"/>
              <a:gd name="T11" fmla="*/ 80 h 124"/>
              <a:gd name="T12" fmla="*/ 31 w 110"/>
              <a:gd name="T13" fmla="*/ 80 h 124"/>
              <a:gd name="T14" fmla="*/ 31 w 110"/>
              <a:gd name="T15" fmla="*/ 124 h 124"/>
              <a:gd name="T16" fmla="*/ 0 w 110"/>
              <a:gd name="T17" fmla="*/ 124 h 124"/>
              <a:gd name="T18" fmla="*/ 0 w 110"/>
              <a:gd name="T19" fmla="*/ 0 h 124"/>
              <a:gd name="T20" fmla="*/ 59 w 110"/>
              <a:gd name="T21" fmla="*/ 0 h 124"/>
              <a:gd name="T22" fmla="*/ 31 w 110"/>
              <a:gd name="T23" fmla="*/ 57 h 124"/>
              <a:gd name="T24" fmla="*/ 57 w 110"/>
              <a:gd name="T25" fmla="*/ 57 h 124"/>
              <a:gd name="T26" fmla="*/ 76 w 110"/>
              <a:gd name="T27" fmla="*/ 40 h 124"/>
              <a:gd name="T28" fmla="*/ 57 w 110"/>
              <a:gd name="T29" fmla="*/ 23 h 124"/>
              <a:gd name="T30" fmla="*/ 31 w 110"/>
              <a:gd name="T31" fmla="*/ 23 h 124"/>
              <a:gd name="T32" fmla="*/ 31 w 110"/>
              <a:gd name="T33" fmla="*/ 57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0" h="124">
                <a:moveTo>
                  <a:pt x="59" y="0"/>
                </a:moveTo>
                <a:cubicBezTo>
                  <a:pt x="77" y="0"/>
                  <a:pt x="107" y="5"/>
                  <a:pt x="107" y="40"/>
                </a:cubicBezTo>
                <a:cubicBezTo>
                  <a:pt x="107" y="61"/>
                  <a:pt x="95" y="70"/>
                  <a:pt x="81" y="75"/>
                </a:cubicBezTo>
                <a:cubicBezTo>
                  <a:pt x="110" y="124"/>
                  <a:pt x="110" y="124"/>
                  <a:pt x="110" y="124"/>
                </a:cubicBezTo>
                <a:cubicBezTo>
                  <a:pt x="76" y="124"/>
                  <a:pt x="76" y="124"/>
                  <a:pt x="76" y="124"/>
                </a:cubicBezTo>
                <a:cubicBezTo>
                  <a:pt x="51" y="80"/>
                  <a:pt x="51" y="80"/>
                  <a:pt x="51" y="80"/>
                </a:cubicBezTo>
                <a:cubicBezTo>
                  <a:pt x="31" y="80"/>
                  <a:pt x="31" y="80"/>
                  <a:pt x="31" y="80"/>
                </a:cubicBezTo>
                <a:cubicBezTo>
                  <a:pt x="31" y="124"/>
                  <a:pt x="31" y="124"/>
                  <a:pt x="31" y="124"/>
                </a:cubicBezTo>
                <a:cubicBezTo>
                  <a:pt x="0" y="124"/>
                  <a:pt x="0" y="124"/>
                  <a:pt x="0" y="124"/>
                </a:cubicBezTo>
                <a:cubicBezTo>
                  <a:pt x="0" y="0"/>
                  <a:pt x="0" y="0"/>
                  <a:pt x="0" y="0"/>
                </a:cubicBezTo>
                <a:lnTo>
                  <a:pt x="59" y="0"/>
                </a:lnTo>
                <a:close/>
                <a:moveTo>
                  <a:pt x="31" y="57"/>
                </a:moveTo>
                <a:cubicBezTo>
                  <a:pt x="57" y="57"/>
                  <a:pt x="57" y="57"/>
                  <a:pt x="57" y="57"/>
                </a:cubicBezTo>
                <a:cubicBezTo>
                  <a:pt x="75" y="57"/>
                  <a:pt x="76" y="44"/>
                  <a:pt x="76" y="40"/>
                </a:cubicBezTo>
                <a:cubicBezTo>
                  <a:pt x="76" y="23"/>
                  <a:pt x="63" y="23"/>
                  <a:pt x="57" y="23"/>
                </a:cubicBezTo>
                <a:cubicBezTo>
                  <a:pt x="31" y="23"/>
                  <a:pt x="31" y="23"/>
                  <a:pt x="31" y="23"/>
                </a:cubicBezTo>
                <a:lnTo>
                  <a:pt x="31" y="57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6" name="Freeform 38">
            <a:extLst>
              <a:ext uri="{FF2B5EF4-FFF2-40B4-BE49-F238E27FC236}">
                <a16:creationId xmlns:a16="http://schemas.microsoft.com/office/drawing/2014/main" id="{2958E99F-E57A-43D2-AACC-72788C667C26}"/>
              </a:ext>
            </a:extLst>
          </p:cNvPr>
          <p:cNvSpPr>
            <a:spLocks/>
          </p:cNvSpPr>
          <p:nvPr userDrawn="1"/>
        </p:nvSpPr>
        <p:spPr bwMode="auto">
          <a:xfrm>
            <a:off x="15665036" y="6255258"/>
            <a:ext cx="510456" cy="651859"/>
          </a:xfrm>
          <a:custGeom>
            <a:avLst/>
            <a:gdLst>
              <a:gd name="T0" fmla="*/ 0 w 195"/>
              <a:gd name="T1" fmla="*/ 0 h 249"/>
              <a:gd name="T2" fmla="*/ 185 w 195"/>
              <a:gd name="T3" fmla="*/ 0 h 249"/>
              <a:gd name="T4" fmla="*/ 185 w 195"/>
              <a:gd name="T5" fmla="*/ 48 h 249"/>
              <a:gd name="T6" fmla="*/ 62 w 195"/>
              <a:gd name="T7" fmla="*/ 48 h 249"/>
              <a:gd name="T8" fmla="*/ 62 w 195"/>
              <a:gd name="T9" fmla="*/ 94 h 249"/>
              <a:gd name="T10" fmla="*/ 177 w 195"/>
              <a:gd name="T11" fmla="*/ 94 h 249"/>
              <a:gd name="T12" fmla="*/ 177 w 195"/>
              <a:gd name="T13" fmla="*/ 141 h 249"/>
              <a:gd name="T14" fmla="*/ 62 w 195"/>
              <a:gd name="T15" fmla="*/ 141 h 249"/>
              <a:gd name="T16" fmla="*/ 62 w 195"/>
              <a:gd name="T17" fmla="*/ 201 h 249"/>
              <a:gd name="T18" fmla="*/ 195 w 195"/>
              <a:gd name="T19" fmla="*/ 201 h 249"/>
              <a:gd name="T20" fmla="*/ 195 w 195"/>
              <a:gd name="T21" fmla="*/ 249 h 249"/>
              <a:gd name="T22" fmla="*/ 0 w 195"/>
              <a:gd name="T23" fmla="*/ 249 h 249"/>
              <a:gd name="T24" fmla="*/ 0 w 195"/>
              <a:gd name="T25" fmla="*/ 0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95" h="249">
                <a:moveTo>
                  <a:pt x="0" y="0"/>
                </a:moveTo>
                <a:lnTo>
                  <a:pt x="185" y="0"/>
                </a:lnTo>
                <a:lnTo>
                  <a:pt x="185" y="48"/>
                </a:lnTo>
                <a:lnTo>
                  <a:pt x="62" y="48"/>
                </a:lnTo>
                <a:lnTo>
                  <a:pt x="62" y="94"/>
                </a:lnTo>
                <a:lnTo>
                  <a:pt x="177" y="94"/>
                </a:lnTo>
                <a:lnTo>
                  <a:pt x="177" y="141"/>
                </a:lnTo>
                <a:lnTo>
                  <a:pt x="62" y="141"/>
                </a:lnTo>
                <a:lnTo>
                  <a:pt x="62" y="201"/>
                </a:lnTo>
                <a:lnTo>
                  <a:pt x="195" y="201"/>
                </a:lnTo>
                <a:lnTo>
                  <a:pt x="195" y="249"/>
                </a:lnTo>
                <a:lnTo>
                  <a:pt x="0" y="249"/>
                </a:lnTo>
                <a:lnTo>
                  <a:pt x="0" y="0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7" name="Freeform 39">
            <a:extLst>
              <a:ext uri="{FF2B5EF4-FFF2-40B4-BE49-F238E27FC236}">
                <a16:creationId xmlns:a16="http://schemas.microsoft.com/office/drawing/2014/main" id="{0146731A-96DF-4FDA-B2D3-FFD952CA169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960869" y="8043288"/>
            <a:ext cx="264391" cy="327239"/>
          </a:xfrm>
          <a:custGeom>
            <a:avLst/>
            <a:gdLst>
              <a:gd name="T0" fmla="*/ 0 w 50"/>
              <a:gd name="T1" fmla="*/ 0 h 62"/>
              <a:gd name="T2" fmla="*/ 30 w 50"/>
              <a:gd name="T3" fmla="*/ 0 h 62"/>
              <a:gd name="T4" fmla="*/ 48 w 50"/>
              <a:gd name="T5" fmla="*/ 16 h 62"/>
              <a:gd name="T6" fmla="*/ 38 w 50"/>
              <a:gd name="T7" fmla="*/ 30 h 62"/>
              <a:gd name="T8" fmla="*/ 50 w 50"/>
              <a:gd name="T9" fmla="*/ 45 h 62"/>
              <a:gd name="T10" fmla="*/ 30 w 50"/>
              <a:gd name="T11" fmla="*/ 62 h 62"/>
              <a:gd name="T12" fmla="*/ 0 w 50"/>
              <a:gd name="T13" fmla="*/ 62 h 62"/>
              <a:gd name="T14" fmla="*/ 0 w 50"/>
              <a:gd name="T15" fmla="*/ 0 h 62"/>
              <a:gd name="T16" fmla="*/ 26 w 50"/>
              <a:gd name="T17" fmla="*/ 26 h 62"/>
              <a:gd name="T18" fmla="*/ 39 w 50"/>
              <a:gd name="T19" fmla="*/ 17 h 62"/>
              <a:gd name="T20" fmla="*/ 28 w 50"/>
              <a:gd name="T21" fmla="*/ 8 h 62"/>
              <a:gd name="T22" fmla="*/ 8 w 50"/>
              <a:gd name="T23" fmla="*/ 8 h 62"/>
              <a:gd name="T24" fmla="*/ 8 w 50"/>
              <a:gd name="T25" fmla="*/ 26 h 62"/>
              <a:gd name="T26" fmla="*/ 26 w 50"/>
              <a:gd name="T27" fmla="*/ 26 h 62"/>
              <a:gd name="T28" fmla="*/ 28 w 50"/>
              <a:gd name="T29" fmla="*/ 55 h 62"/>
              <a:gd name="T30" fmla="*/ 41 w 50"/>
              <a:gd name="T31" fmla="*/ 45 h 62"/>
              <a:gd name="T32" fmla="*/ 28 w 50"/>
              <a:gd name="T33" fmla="*/ 34 h 62"/>
              <a:gd name="T34" fmla="*/ 8 w 50"/>
              <a:gd name="T35" fmla="*/ 34 h 62"/>
              <a:gd name="T36" fmla="*/ 8 w 50"/>
              <a:gd name="T37" fmla="*/ 55 h 62"/>
              <a:gd name="T38" fmla="*/ 28 w 50"/>
              <a:gd name="T39" fmla="*/ 55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0" h="62">
                <a:moveTo>
                  <a:pt x="0" y="0"/>
                </a:moveTo>
                <a:cubicBezTo>
                  <a:pt x="30" y="0"/>
                  <a:pt x="30" y="0"/>
                  <a:pt x="30" y="0"/>
                </a:cubicBezTo>
                <a:cubicBezTo>
                  <a:pt x="39" y="0"/>
                  <a:pt x="48" y="6"/>
                  <a:pt x="48" y="16"/>
                </a:cubicBezTo>
                <a:cubicBezTo>
                  <a:pt x="48" y="23"/>
                  <a:pt x="44" y="28"/>
                  <a:pt x="38" y="30"/>
                </a:cubicBezTo>
                <a:cubicBezTo>
                  <a:pt x="43" y="31"/>
                  <a:pt x="50" y="35"/>
                  <a:pt x="50" y="45"/>
                </a:cubicBezTo>
                <a:cubicBezTo>
                  <a:pt x="50" y="59"/>
                  <a:pt x="38" y="62"/>
                  <a:pt x="30" y="62"/>
                </a:cubicBezTo>
                <a:cubicBezTo>
                  <a:pt x="0" y="62"/>
                  <a:pt x="0" y="62"/>
                  <a:pt x="0" y="62"/>
                </a:cubicBezTo>
                <a:lnTo>
                  <a:pt x="0" y="0"/>
                </a:lnTo>
                <a:close/>
                <a:moveTo>
                  <a:pt x="26" y="26"/>
                </a:moveTo>
                <a:cubicBezTo>
                  <a:pt x="32" y="26"/>
                  <a:pt x="39" y="25"/>
                  <a:pt x="39" y="17"/>
                </a:cubicBezTo>
                <a:cubicBezTo>
                  <a:pt x="39" y="12"/>
                  <a:pt x="36" y="8"/>
                  <a:pt x="28" y="8"/>
                </a:cubicBezTo>
                <a:cubicBezTo>
                  <a:pt x="8" y="8"/>
                  <a:pt x="8" y="8"/>
                  <a:pt x="8" y="8"/>
                </a:cubicBezTo>
                <a:cubicBezTo>
                  <a:pt x="8" y="26"/>
                  <a:pt x="8" y="26"/>
                  <a:pt x="8" y="26"/>
                </a:cubicBezTo>
                <a:lnTo>
                  <a:pt x="26" y="26"/>
                </a:lnTo>
                <a:close/>
                <a:moveTo>
                  <a:pt x="28" y="55"/>
                </a:moveTo>
                <a:cubicBezTo>
                  <a:pt x="34" y="55"/>
                  <a:pt x="41" y="54"/>
                  <a:pt x="41" y="45"/>
                </a:cubicBezTo>
                <a:cubicBezTo>
                  <a:pt x="41" y="37"/>
                  <a:pt x="36" y="34"/>
                  <a:pt x="28" y="34"/>
                </a:cubicBezTo>
                <a:cubicBezTo>
                  <a:pt x="8" y="34"/>
                  <a:pt x="8" y="34"/>
                  <a:pt x="8" y="34"/>
                </a:cubicBezTo>
                <a:cubicBezTo>
                  <a:pt x="8" y="55"/>
                  <a:pt x="8" y="55"/>
                  <a:pt x="8" y="55"/>
                </a:cubicBezTo>
                <a:lnTo>
                  <a:pt x="28" y="55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8" name="Freeform 40">
            <a:extLst>
              <a:ext uri="{FF2B5EF4-FFF2-40B4-BE49-F238E27FC236}">
                <a16:creationId xmlns:a16="http://schemas.microsoft.com/office/drawing/2014/main" id="{89082169-2B0C-46F4-83DD-D1B58D197F0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5282848" y="8043288"/>
            <a:ext cx="267008" cy="327239"/>
          </a:xfrm>
          <a:custGeom>
            <a:avLst/>
            <a:gdLst>
              <a:gd name="T0" fmla="*/ 41 w 51"/>
              <a:gd name="T1" fmla="*/ 62 h 62"/>
              <a:gd name="T2" fmla="*/ 24 w 51"/>
              <a:gd name="T3" fmla="*/ 36 h 62"/>
              <a:gd name="T4" fmla="*/ 8 w 51"/>
              <a:gd name="T5" fmla="*/ 36 h 62"/>
              <a:gd name="T6" fmla="*/ 8 w 51"/>
              <a:gd name="T7" fmla="*/ 62 h 62"/>
              <a:gd name="T8" fmla="*/ 0 w 51"/>
              <a:gd name="T9" fmla="*/ 62 h 62"/>
              <a:gd name="T10" fmla="*/ 0 w 51"/>
              <a:gd name="T11" fmla="*/ 0 h 62"/>
              <a:gd name="T12" fmla="*/ 28 w 51"/>
              <a:gd name="T13" fmla="*/ 0 h 62"/>
              <a:gd name="T14" fmla="*/ 48 w 51"/>
              <a:gd name="T15" fmla="*/ 18 h 62"/>
              <a:gd name="T16" fmla="*/ 33 w 51"/>
              <a:gd name="T17" fmla="*/ 36 h 62"/>
              <a:gd name="T18" fmla="*/ 51 w 51"/>
              <a:gd name="T19" fmla="*/ 62 h 62"/>
              <a:gd name="T20" fmla="*/ 41 w 51"/>
              <a:gd name="T21" fmla="*/ 62 h 62"/>
              <a:gd name="T22" fmla="*/ 26 w 51"/>
              <a:gd name="T23" fmla="*/ 29 h 62"/>
              <a:gd name="T24" fmla="*/ 40 w 51"/>
              <a:gd name="T25" fmla="*/ 18 h 62"/>
              <a:gd name="T26" fmla="*/ 27 w 51"/>
              <a:gd name="T27" fmla="*/ 7 h 62"/>
              <a:gd name="T28" fmla="*/ 8 w 51"/>
              <a:gd name="T29" fmla="*/ 7 h 62"/>
              <a:gd name="T30" fmla="*/ 8 w 51"/>
              <a:gd name="T31" fmla="*/ 29 h 62"/>
              <a:gd name="T32" fmla="*/ 26 w 51"/>
              <a:gd name="T33" fmla="*/ 29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1" h="62">
                <a:moveTo>
                  <a:pt x="41" y="62"/>
                </a:moveTo>
                <a:cubicBezTo>
                  <a:pt x="24" y="36"/>
                  <a:pt x="24" y="36"/>
                  <a:pt x="24" y="36"/>
                </a:cubicBezTo>
                <a:cubicBezTo>
                  <a:pt x="8" y="36"/>
                  <a:pt x="8" y="36"/>
                  <a:pt x="8" y="36"/>
                </a:cubicBezTo>
                <a:cubicBezTo>
                  <a:pt x="8" y="62"/>
                  <a:pt x="8" y="62"/>
                  <a:pt x="8" y="62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0"/>
                  <a:pt x="0" y="0"/>
                  <a:pt x="0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40" y="0"/>
                  <a:pt x="48" y="6"/>
                  <a:pt x="48" y="18"/>
                </a:cubicBezTo>
                <a:cubicBezTo>
                  <a:pt x="48" y="26"/>
                  <a:pt x="45" y="34"/>
                  <a:pt x="33" y="36"/>
                </a:cubicBezTo>
                <a:cubicBezTo>
                  <a:pt x="51" y="62"/>
                  <a:pt x="51" y="62"/>
                  <a:pt x="51" y="62"/>
                </a:cubicBezTo>
                <a:lnTo>
                  <a:pt x="41" y="62"/>
                </a:lnTo>
                <a:close/>
                <a:moveTo>
                  <a:pt x="26" y="29"/>
                </a:moveTo>
                <a:cubicBezTo>
                  <a:pt x="33" y="29"/>
                  <a:pt x="40" y="27"/>
                  <a:pt x="40" y="18"/>
                </a:cubicBezTo>
                <a:cubicBezTo>
                  <a:pt x="40" y="12"/>
                  <a:pt x="35" y="7"/>
                  <a:pt x="27" y="7"/>
                </a:cubicBezTo>
                <a:cubicBezTo>
                  <a:pt x="8" y="7"/>
                  <a:pt x="8" y="7"/>
                  <a:pt x="8" y="7"/>
                </a:cubicBezTo>
                <a:cubicBezTo>
                  <a:pt x="8" y="29"/>
                  <a:pt x="8" y="29"/>
                  <a:pt x="8" y="29"/>
                </a:cubicBezTo>
                <a:lnTo>
                  <a:pt x="26" y="29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9" name="Freeform 41">
            <a:extLst>
              <a:ext uri="{FF2B5EF4-FFF2-40B4-BE49-F238E27FC236}">
                <a16:creationId xmlns:a16="http://schemas.microsoft.com/office/drawing/2014/main" id="{4AD8A71B-3537-48A9-B25C-59CF664C543E}"/>
              </a:ext>
            </a:extLst>
          </p:cNvPr>
          <p:cNvSpPr>
            <a:spLocks/>
          </p:cNvSpPr>
          <p:nvPr userDrawn="1"/>
        </p:nvSpPr>
        <p:spPr bwMode="auto">
          <a:xfrm>
            <a:off x="15586504" y="8043288"/>
            <a:ext cx="230359" cy="327239"/>
          </a:xfrm>
          <a:custGeom>
            <a:avLst/>
            <a:gdLst>
              <a:gd name="T0" fmla="*/ 0 w 88"/>
              <a:gd name="T1" fmla="*/ 125 h 125"/>
              <a:gd name="T2" fmla="*/ 0 w 88"/>
              <a:gd name="T3" fmla="*/ 0 h 125"/>
              <a:gd name="T4" fmla="*/ 86 w 88"/>
              <a:gd name="T5" fmla="*/ 0 h 125"/>
              <a:gd name="T6" fmla="*/ 86 w 88"/>
              <a:gd name="T7" fmla="*/ 16 h 125"/>
              <a:gd name="T8" fmla="*/ 16 w 88"/>
              <a:gd name="T9" fmla="*/ 16 h 125"/>
              <a:gd name="T10" fmla="*/ 16 w 88"/>
              <a:gd name="T11" fmla="*/ 55 h 125"/>
              <a:gd name="T12" fmla="*/ 78 w 88"/>
              <a:gd name="T13" fmla="*/ 55 h 125"/>
              <a:gd name="T14" fmla="*/ 78 w 88"/>
              <a:gd name="T15" fmla="*/ 69 h 125"/>
              <a:gd name="T16" fmla="*/ 16 w 88"/>
              <a:gd name="T17" fmla="*/ 69 h 125"/>
              <a:gd name="T18" fmla="*/ 16 w 88"/>
              <a:gd name="T19" fmla="*/ 111 h 125"/>
              <a:gd name="T20" fmla="*/ 88 w 88"/>
              <a:gd name="T21" fmla="*/ 111 h 125"/>
              <a:gd name="T22" fmla="*/ 88 w 88"/>
              <a:gd name="T23" fmla="*/ 125 h 125"/>
              <a:gd name="T24" fmla="*/ 0 w 88"/>
              <a:gd name="T25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8" h="125">
                <a:moveTo>
                  <a:pt x="0" y="125"/>
                </a:moveTo>
                <a:lnTo>
                  <a:pt x="0" y="0"/>
                </a:lnTo>
                <a:lnTo>
                  <a:pt x="86" y="0"/>
                </a:lnTo>
                <a:lnTo>
                  <a:pt x="86" y="16"/>
                </a:lnTo>
                <a:lnTo>
                  <a:pt x="16" y="16"/>
                </a:lnTo>
                <a:lnTo>
                  <a:pt x="16" y="55"/>
                </a:lnTo>
                <a:lnTo>
                  <a:pt x="78" y="55"/>
                </a:lnTo>
                <a:lnTo>
                  <a:pt x="78" y="69"/>
                </a:lnTo>
                <a:lnTo>
                  <a:pt x="16" y="69"/>
                </a:lnTo>
                <a:lnTo>
                  <a:pt x="16" y="111"/>
                </a:lnTo>
                <a:lnTo>
                  <a:pt x="88" y="111"/>
                </a:lnTo>
                <a:lnTo>
                  <a:pt x="88" y="125"/>
                </a:lnTo>
                <a:lnTo>
                  <a:pt x="0" y="125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0" name="Freeform 42">
            <a:extLst>
              <a:ext uri="{FF2B5EF4-FFF2-40B4-BE49-F238E27FC236}">
                <a16:creationId xmlns:a16="http://schemas.microsoft.com/office/drawing/2014/main" id="{18B57A43-3156-4E3D-BBAD-2BB2C8DC984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5837805" y="8043288"/>
            <a:ext cx="285332" cy="327239"/>
          </a:xfrm>
          <a:custGeom>
            <a:avLst/>
            <a:gdLst>
              <a:gd name="T0" fmla="*/ 93 w 109"/>
              <a:gd name="T1" fmla="*/ 125 h 125"/>
              <a:gd name="T2" fmla="*/ 78 w 109"/>
              <a:gd name="T3" fmla="*/ 87 h 125"/>
              <a:gd name="T4" fmla="*/ 30 w 109"/>
              <a:gd name="T5" fmla="*/ 87 h 125"/>
              <a:gd name="T6" fmla="*/ 16 w 109"/>
              <a:gd name="T7" fmla="*/ 125 h 125"/>
              <a:gd name="T8" fmla="*/ 0 w 109"/>
              <a:gd name="T9" fmla="*/ 125 h 125"/>
              <a:gd name="T10" fmla="*/ 46 w 109"/>
              <a:gd name="T11" fmla="*/ 0 h 125"/>
              <a:gd name="T12" fmla="*/ 64 w 109"/>
              <a:gd name="T13" fmla="*/ 0 h 125"/>
              <a:gd name="T14" fmla="*/ 109 w 109"/>
              <a:gd name="T15" fmla="*/ 125 h 125"/>
              <a:gd name="T16" fmla="*/ 93 w 109"/>
              <a:gd name="T17" fmla="*/ 125 h 125"/>
              <a:gd name="T18" fmla="*/ 54 w 109"/>
              <a:gd name="T19" fmla="*/ 22 h 125"/>
              <a:gd name="T20" fmla="*/ 36 w 109"/>
              <a:gd name="T21" fmla="*/ 75 h 125"/>
              <a:gd name="T22" fmla="*/ 72 w 109"/>
              <a:gd name="T23" fmla="*/ 75 h 125"/>
              <a:gd name="T24" fmla="*/ 54 w 109"/>
              <a:gd name="T25" fmla="*/ 22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9" h="125">
                <a:moveTo>
                  <a:pt x="93" y="125"/>
                </a:moveTo>
                <a:lnTo>
                  <a:pt x="78" y="87"/>
                </a:lnTo>
                <a:lnTo>
                  <a:pt x="30" y="87"/>
                </a:lnTo>
                <a:lnTo>
                  <a:pt x="16" y="125"/>
                </a:lnTo>
                <a:lnTo>
                  <a:pt x="0" y="125"/>
                </a:lnTo>
                <a:lnTo>
                  <a:pt x="46" y="0"/>
                </a:lnTo>
                <a:lnTo>
                  <a:pt x="64" y="0"/>
                </a:lnTo>
                <a:lnTo>
                  <a:pt x="109" y="125"/>
                </a:lnTo>
                <a:lnTo>
                  <a:pt x="93" y="125"/>
                </a:lnTo>
                <a:close/>
                <a:moveTo>
                  <a:pt x="54" y="22"/>
                </a:moveTo>
                <a:lnTo>
                  <a:pt x="36" y="75"/>
                </a:lnTo>
                <a:lnTo>
                  <a:pt x="72" y="75"/>
                </a:lnTo>
                <a:lnTo>
                  <a:pt x="54" y="22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1" name="Freeform 43">
            <a:extLst>
              <a:ext uri="{FF2B5EF4-FFF2-40B4-BE49-F238E27FC236}">
                <a16:creationId xmlns:a16="http://schemas.microsoft.com/office/drawing/2014/main" id="{DCB822B5-194A-4B3D-B6BA-311291A7CA1E}"/>
              </a:ext>
            </a:extLst>
          </p:cNvPr>
          <p:cNvSpPr>
            <a:spLocks/>
          </p:cNvSpPr>
          <p:nvPr userDrawn="1"/>
        </p:nvSpPr>
        <p:spPr bwMode="auto">
          <a:xfrm>
            <a:off x="16159786" y="8043288"/>
            <a:ext cx="256537" cy="327239"/>
          </a:xfrm>
          <a:custGeom>
            <a:avLst/>
            <a:gdLst>
              <a:gd name="T0" fmla="*/ 78 w 98"/>
              <a:gd name="T1" fmla="*/ 125 h 125"/>
              <a:gd name="T2" fmla="*/ 34 w 98"/>
              <a:gd name="T3" fmla="*/ 65 h 125"/>
              <a:gd name="T4" fmla="*/ 18 w 98"/>
              <a:gd name="T5" fmla="*/ 83 h 125"/>
              <a:gd name="T6" fmla="*/ 18 w 98"/>
              <a:gd name="T7" fmla="*/ 125 h 125"/>
              <a:gd name="T8" fmla="*/ 0 w 98"/>
              <a:gd name="T9" fmla="*/ 125 h 125"/>
              <a:gd name="T10" fmla="*/ 0 w 98"/>
              <a:gd name="T11" fmla="*/ 0 h 125"/>
              <a:gd name="T12" fmla="*/ 18 w 98"/>
              <a:gd name="T13" fmla="*/ 0 h 125"/>
              <a:gd name="T14" fmla="*/ 18 w 98"/>
              <a:gd name="T15" fmla="*/ 63 h 125"/>
              <a:gd name="T16" fmla="*/ 76 w 98"/>
              <a:gd name="T17" fmla="*/ 0 h 125"/>
              <a:gd name="T18" fmla="*/ 96 w 98"/>
              <a:gd name="T19" fmla="*/ 0 h 125"/>
              <a:gd name="T20" fmla="*/ 46 w 98"/>
              <a:gd name="T21" fmla="*/ 52 h 125"/>
              <a:gd name="T22" fmla="*/ 98 w 98"/>
              <a:gd name="T23" fmla="*/ 125 h 125"/>
              <a:gd name="T24" fmla="*/ 78 w 98"/>
              <a:gd name="T25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8" h="125">
                <a:moveTo>
                  <a:pt x="78" y="125"/>
                </a:moveTo>
                <a:lnTo>
                  <a:pt x="34" y="65"/>
                </a:lnTo>
                <a:lnTo>
                  <a:pt x="18" y="83"/>
                </a:lnTo>
                <a:lnTo>
                  <a:pt x="18" y="125"/>
                </a:lnTo>
                <a:lnTo>
                  <a:pt x="0" y="125"/>
                </a:lnTo>
                <a:lnTo>
                  <a:pt x="0" y="0"/>
                </a:lnTo>
                <a:lnTo>
                  <a:pt x="18" y="0"/>
                </a:lnTo>
                <a:lnTo>
                  <a:pt x="18" y="63"/>
                </a:lnTo>
                <a:lnTo>
                  <a:pt x="76" y="0"/>
                </a:lnTo>
                <a:lnTo>
                  <a:pt x="96" y="0"/>
                </a:lnTo>
                <a:lnTo>
                  <a:pt x="46" y="52"/>
                </a:lnTo>
                <a:lnTo>
                  <a:pt x="98" y="125"/>
                </a:lnTo>
                <a:lnTo>
                  <a:pt x="78" y="125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2" name="Freeform 44">
            <a:extLst>
              <a:ext uri="{FF2B5EF4-FFF2-40B4-BE49-F238E27FC236}">
                <a16:creationId xmlns:a16="http://schemas.microsoft.com/office/drawing/2014/main" id="{9046A66F-8C13-457C-BCA7-DD25D5F79D09}"/>
              </a:ext>
            </a:extLst>
          </p:cNvPr>
          <p:cNvSpPr>
            <a:spLocks/>
          </p:cNvSpPr>
          <p:nvPr userDrawn="1"/>
        </p:nvSpPr>
        <p:spPr bwMode="auto">
          <a:xfrm>
            <a:off x="16568150" y="8038053"/>
            <a:ext cx="319362" cy="342946"/>
          </a:xfrm>
          <a:custGeom>
            <a:avLst/>
            <a:gdLst>
              <a:gd name="T0" fmla="*/ 53 w 61"/>
              <a:gd name="T1" fmla="*/ 63 h 65"/>
              <a:gd name="T2" fmla="*/ 53 w 61"/>
              <a:gd name="T3" fmla="*/ 55 h 65"/>
              <a:gd name="T4" fmla="*/ 31 w 61"/>
              <a:gd name="T5" fmla="*/ 65 h 65"/>
              <a:gd name="T6" fmla="*/ 0 w 61"/>
              <a:gd name="T7" fmla="*/ 33 h 65"/>
              <a:gd name="T8" fmla="*/ 32 w 61"/>
              <a:gd name="T9" fmla="*/ 0 h 65"/>
              <a:gd name="T10" fmla="*/ 61 w 61"/>
              <a:gd name="T11" fmla="*/ 18 h 65"/>
              <a:gd name="T12" fmla="*/ 52 w 61"/>
              <a:gd name="T13" fmla="*/ 20 h 65"/>
              <a:gd name="T14" fmla="*/ 32 w 61"/>
              <a:gd name="T15" fmla="*/ 7 h 65"/>
              <a:gd name="T16" fmla="*/ 9 w 61"/>
              <a:gd name="T17" fmla="*/ 32 h 65"/>
              <a:gd name="T18" fmla="*/ 32 w 61"/>
              <a:gd name="T19" fmla="*/ 58 h 65"/>
              <a:gd name="T20" fmla="*/ 53 w 61"/>
              <a:gd name="T21" fmla="*/ 38 h 65"/>
              <a:gd name="T22" fmla="*/ 53 w 61"/>
              <a:gd name="T23" fmla="*/ 38 h 65"/>
              <a:gd name="T24" fmla="*/ 32 w 61"/>
              <a:gd name="T25" fmla="*/ 38 h 65"/>
              <a:gd name="T26" fmla="*/ 32 w 61"/>
              <a:gd name="T27" fmla="*/ 31 h 65"/>
              <a:gd name="T28" fmla="*/ 61 w 61"/>
              <a:gd name="T29" fmla="*/ 31 h 65"/>
              <a:gd name="T30" fmla="*/ 61 w 61"/>
              <a:gd name="T31" fmla="*/ 63 h 65"/>
              <a:gd name="T32" fmla="*/ 53 w 61"/>
              <a:gd name="T33" fmla="*/ 63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1" h="65">
                <a:moveTo>
                  <a:pt x="53" y="63"/>
                </a:moveTo>
                <a:cubicBezTo>
                  <a:pt x="53" y="55"/>
                  <a:pt x="53" y="55"/>
                  <a:pt x="53" y="55"/>
                </a:cubicBezTo>
                <a:cubicBezTo>
                  <a:pt x="51" y="59"/>
                  <a:pt x="44" y="65"/>
                  <a:pt x="31" y="65"/>
                </a:cubicBezTo>
                <a:cubicBezTo>
                  <a:pt x="12" y="65"/>
                  <a:pt x="0" y="52"/>
                  <a:pt x="0" y="33"/>
                </a:cubicBezTo>
                <a:cubicBezTo>
                  <a:pt x="0" y="12"/>
                  <a:pt x="14" y="0"/>
                  <a:pt x="32" y="0"/>
                </a:cubicBezTo>
                <a:cubicBezTo>
                  <a:pt x="42" y="0"/>
                  <a:pt x="54" y="4"/>
                  <a:pt x="61" y="18"/>
                </a:cubicBezTo>
                <a:cubicBezTo>
                  <a:pt x="52" y="20"/>
                  <a:pt x="52" y="20"/>
                  <a:pt x="52" y="20"/>
                </a:cubicBezTo>
                <a:cubicBezTo>
                  <a:pt x="49" y="12"/>
                  <a:pt x="42" y="7"/>
                  <a:pt x="32" y="7"/>
                </a:cubicBezTo>
                <a:cubicBezTo>
                  <a:pt x="16" y="7"/>
                  <a:pt x="9" y="19"/>
                  <a:pt x="9" y="32"/>
                </a:cubicBezTo>
                <a:cubicBezTo>
                  <a:pt x="9" y="50"/>
                  <a:pt x="20" y="58"/>
                  <a:pt x="32" y="58"/>
                </a:cubicBezTo>
                <a:cubicBezTo>
                  <a:pt x="43" y="58"/>
                  <a:pt x="53" y="51"/>
                  <a:pt x="53" y="38"/>
                </a:cubicBezTo>
                <a:cubicBezTo>
                  <a:pt x="53" y="38"/>
                  <a:pt x="53" y="38"/>
                  <a:pt x="53" y="38"/>
                </a:cubicBezTo>
                <a:cubicBezTo>
                  <a:pt x="32" y="38"/>
                  <a:pt x="32" y="38"/>
                  <a:pt x="32" y="38"/>
                </a:cubicBezTo>
                <a:cubicBezTo>
                  <a:pt x="32" y="31"/>
                  <a:pt x="32" y="31"/>
                  <a:pt x="32" y="31"/>
                </a:cubicBezTo>
                <a:cubicBezTo>
                  <a:pt x="61" y="31"/>
                  <a:pt x="61" y="31"/>
                  <a:pt x="61" y="31"/>
                </a:cubicBezTo>
                <a:cubicBezTo>
                  <a:pt x="61" y="63"/>
                  <a:pt x="61" y="63"/>
                  <a:pt x="61" y="63"/>
                </a:cubicBezTo>
                <a:lnTo>
                  <a:pt x="53" y="63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3" name="Freeform 45">
            <a:extLst>
              <a:ext uri="{FF2B5EF4-FFF2-40B4-BE49-F238E27FC236}">
                <a16:creationId xmlns:a16="http://schemas.microsoft.com/office/drawing/2014/main" id="{E26CB4DC-63FA-400D-9BC9-EDACC6BCC12F}"/>
              </a:ext>
            </a:extLst>
          </p:cNvPr>
          <p:cNvSpPr>
            <a:spLocks/>
          </p:cNvSpPr>
          <p:nvPr userDrawn="1"/>
        </p:nvSpPr>
        <p:spPr bwMode="auto">
          <a:xfrm>
            <a:off x="16950337" y="8043288"/>
            <a:ext cx="201565" cy="327239"/>
          </a:xfrm>
          <a:custGeom>
            <a:avLst/>
            <a:gdLst>
              <a:gd name="T0" fmla="*/ 0 w 77"/>
              <a:gd name="T1" fmla="*/ 125 h 125"/>
              <a:gd name="T2" fmla="*/ 0 w 77"/>
              <a:gd name="T3" fmla="*/ 0 h 125"/>
              <a:gd name="T4" fmla="*/ 16 w 77"/>
              <a:gd name="T5" fmla="*/ 0 h 125"/>
              <a:gd name="T6" fmla="*/ 16 w 77"/>
              <a:gd name="T7" fmla="*/ 111 h 125"/>
              <a:gd name="T8" fmla="*/ 77 w 77"/>
              <a:gd name="T9" fmla="*/ 111 h 125"/>
              <a:gd name="T10" fmla="*/ 77 w 77"/>
              <a:gd name="T11" fmla="*/ 125 h 125"/>
              <a:gd name="T12" fmla="*/ 0 w 77"/>
              <a:gd name="T13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7" h="125">
                <a:moveTo>
                  <a:pt x="0" y="125"/>
                </a:moveTo>
                <a:lnTo>
                  <a:pt x="0" y="0"/>
                </a:lnTo>
                <a:lnTo>
                  <a:pt x="16" y="0"/>
                </a:lnTo>
                <a:lnTo>
                  <a:pt x="16" y="111"/>
                </a:lnTo>
                <a:lnTo>
                  <a:pt x="77" y="111"/>
                </a:lnTo>
                <a:lnTo>
                  <a:pt x="77" y="125"/>
                </a:lnTo>
                <a:lnTo>
                  <a:pt x="0" y="125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4" name="Freeform 46">
            <a:extLst>
              <a:ext uri="{FF2B5EF4-FFF2-40B4-BE49-F238E27FC236}">
                <a16:creationId xmlns:a16="http://schemas.microsoft.com/office/drawing/2014/main" id="{1BC375B2-2F0B-4A37-81C2-8A272985F09B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167607" y="8043288"/>
            <a:ext cx="282714" cy="327239"/>
          </a:xfrm>
          <a:custGeom>
            <a:avLst/>
            <a:gdLst>
              <a:gd name="T0" fmla="*/ 92 w 108"/>
              <a:gd name="T1" fmla="*/ 125 h 125"/>
              <a:gd name="T2" fmla="*/ 78 w 108"/>
              <a:gd name="T3" fmla="*/ 87 h 125"/>
              <a:gd name="T4" fmla="*/ 30 w 108"/>
              <a:gd name="T5" fmla="*/ 87 h 125"/>
              <a:gd name="T6" fmla="*/ 16 w 108"/>
              <a:gd name="T7" fmla="*/ 125 h 125"/>
              <a:gd name="T8" fmla="*/ 0 w 108"/>
              <a:gd name="T9" fmla="*/ 125 h 125"/>
              <a:gd name="T10" fmla="*/ 46 w 108"/>
              <a:gd name="T11" fmla="*/ 0 h 125"/>
              <a:gd name="T12" fmla="*/ 64 w 108"/>
              <a:gd name="T13" fmla="*/ 0 h 125"/>
              <a:gd name="T14" fmla="*/ 108 w 108"/>
              <a:gd name="T15" fmla="*/ 125 h 125"/>
              <a:gd name="T16" fmla="*/ 92 w 108"/>
              <a:gd name="T17" fmla="*/ 125 h 125"/>
              <a:gd name="T18" fmla="*/ 54 w 108"/>
              <a:gd name="T19" fmla="*/ 22 h 125"/>
              <a:gd name="T20" fmla="*/ 36 w 108"/>
              <a:gd name="T21" fmla="*/ 75 h 125"/>
              <a:gd name="T22" fmla="*/ 72 w 108"/>
              <a:gd name="T23" fmla="*/ 75 h 125"/>
              <a:gd name="T24" fmla="*/ 54 w 108"/>
              <a:gd name="T25" fmla="*/ 22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8" h="125">
                <a:moveTo>
                  <a:pt x="92" y="125"/>
                </a:moveTo>
                <a:lnTo>
                  <a:pt x="78" y="87"/>
                </a:lnTo>
                <a:lnTo>
                  <a:pt x="30" y="87"/>
                </a:lnTo>
                <a:lnTo>
                  <a:pt x="16" y="125"/>
                </a:lnTo>
                <a:lnTo>
                  <a:pt x="0" y="125"/>
                </a:lnTo>
                <a:lnTo>
                  <a:pt x="46" y="0"/>
                </a:lnTo>
                <a:lnTo>
                  <a:pt x="64" y="0"/>
                </a:lnTo>
                <a:lnTo>
                  <a:pt x="108" y="125"/>
                </a:lnTo>
                <a:lnTo>
                  <a:pt x="92" y="125"/>
                </a:lnTo>
                <a:close/>
                <a:moveTo>
                  <a:pt x="54" y="22"/>
                </a:moveTo>
                <a:lnTo>
                  <a:pt x="36" y="75"/>
                </a:lnTo>
                <a:lnTo>
                  <a:pt x="72" y="75"/>
                </a:lnTo>
                <a:lnTo>
                  <a:pt x="54" y="22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5" name="Freeform 47">
            <a:extLst>
              <a:ext uri="{FF2B5EF4-FFF2-40B4-BE49-F238E27FC236}">
                <a16:creationId xmlns:a16="http://schemas.microsoft.com/office/drawing/2014/main" id="{D9D43E51-3EDD-47F1-8947-E1F3AC12D1EB}"/>
              </a:ext>
            </a:extLst>
          </p:cNvPr>
          <p:cNvSpPr>
            <a:spLocks/>
          </p:cNvSpPr>
          <p:nvPr userDrawn="1"/>
        </p:nvSpPr>
        <p:spPr bwMode="auto">
          <a:xfrm>
            <a:off x="17476499" y="8038053"/>
            <a:ext cx="267008" cy="342946"/>
          </a:xfrm>
          <a:custGeom>
            <a:avLst/>
            <a:gdLst>
              <a:gd name="T0" fmla="*/ 9 w 51"/>
              <a:gd name="T1" fmla="*/ 42 h 65"/>
              <a:gd name="T2" fmla="*/ 26 w 51"/>
              <a:gd name="T3" fmla="*/ 59 h 65"/>
              <a:gd name="T4" fmla="*/ 42 w 51"/>
              <a:gd name="T5" fmla="*/ 46 h 65"/>
              <a:gd name="T6" fmla="*/ 30 w 51"/>
              <a:gd name="T7" fmla="*/ 36 h 65"/>
              <a:gd name="T8" fmla="*/ 25 w 51"/>
              <a:gd name="T9" fmla="*/ 35 h 65"/>
              <a:gd name="T10" fmla="*/ 3 w 51"/>
              <a:gd name="T11" fmla="*/ 17 h 65"/>
              <a:gd name="T12" fmla="*/ 9 w 51"/>
              <a:gd name="T13" fmla="*/ 5 h 65"/>
              <a:gd name="T14" fmla="*/ 25 w 51"/>
              <a:gd name="T15" fmla="*/ 0 h 65"/>
              <a:gd name="T16" fmla="*/ 42 w 51"/>
              <a:gd name="T17" fmla="*/ 4 h 65"/>
              <a:gd name="T18" fmla="*/ 50 w 51"/>
              <a:gd name="T19" fmla="*/ 19 h 65"/>
              <a:gd name="T20" fmla="*/ 41 w 51"/>
              <a:gd name="T21" fmla="*/ 19 h 65"/>
              <a:gd name="T22" fmla="*/ 25 w 51"/>
              <a:gd name="T23" fmla="*/ 6 h 65"/>
              <a:gd name="T24" fmla="*/ 11 w 51"/>
              <a:gd name="T25" fmla="*/ 16 h 65"/>
              <a:gd name="T26" fmla="*/ 24 w 51"/>
              <a:gd name="T27" fmla="*/ 26 h 65"/>
              <a:gd name="T28" fmla="*/ 35 w 51"/>
              <a:gd name="T29" fmla="*/ 28 h 65"/>
              <a:gd name="T30" fmla="*/ 51 w 51"/>
              <a:gd name="T31" fmla="*/ 46 h 65"/>
              <a:gd name="T32" fmla="*/ 46 w 51"/>
              <a:gd name="T33" fmla="*/ 58 h 65"/>
              <a:gd name="T34" fmla="*/ 26 w 51"/>
              <a:gd name="T35" fmla="*/ 65 h 65"/>
              <a:gd name="T36" fmla="*/ 9 w 51"/>
              <a:gd name="T37" fmla="*/ 61 h 65"/>
              <a:gd name="T38" fmla="*/ 0 w 51"/>
              <a:gd name="T39" fmla="*/ 44 h 65"/>
              <a:gd name="T40" fmla="*/ 9 w 51"/>
              <a:gd name="T41" fmla="*/ 42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51" h="65">
                <a:moveTo>
                  <a:pt x="9" y="42"/>
                </a:moveTo>
                <a:cubicBezTo>
                  <a:pt x="9" y="45"/>
                  <a:pt x="9" y="59"/>
                  <a:pt x="26" y="59"/>
                </a:cubicBezTo>
                <a:cubicBezTo>
                  <a:pt x="32" y="59"/>
                  <a:pt x="42" y="57"/>
                  <a:pt x="42" y="46"/>
                </a:cubicBezTo>
                <a:cubicBezTo>
                  <a:pt x="42" y="39"/>
                  <a:pt x="37" y="37"/>
                  <a:pt x="30" y="36"/>
                </a:cubicBezTo>
                <a:cubicBezTo>
                  <a:pt x="25" y="35"/>
                  <a:pt x="25" y="35"/>
                  <a:pt x="25" y="35"/>
                </a:cubicBezTo>
                <a:cubicBezTo>
                  <a:pt x="11" y="32"/>
                  <a:pt x="3" y="27"/>
                  <a:pt x="3" y="17"/>
                </a:cubicBezTo>
                <a:cubicBezTo>
                  <a:pt x="3" y="12"/>
                  <a:pt x="5" y="8"/>
                  <a:pt x="9" y="5"/>
                </a:cubicBezTo>
                <a:cubicBezTo>
                  <a:pt x="15" y="0"/>
                  <a:pt x="22" y="0"/>
                  <a:pt x="25" y="0"/>
                </a:cubicBezTo>
                <a:cubicBezTo>
                  <a:pt x="31" y="0"/>
                  <a:pt x="37" y="1"/>
                  <a:pt x="42" y="4"/>
                </a:cubicBezTo>
                <a:cubicBezTo>
                  <a:pt x="47" y="9"/>
                  <a:pt x="49" y="13"/>
                  <a:pt x="50" y="19"/>
                </a:cubicBezTo>
                <a:cubicBezTo>
                  <a:pt x="41" y="19"/>
                  <a:pt x="41" y="19"/>
                  <a:pt x="41" y="19"/>
                </a:cubicBezTo>
                <a:cubicBezTo>
                  <a:pt x="41" y="16"/>
                  <a:pt x="40" y="6"/>
                  <a:pt x="25" y="6"/>
                </a:cubicBezTo>
                <a:cubicBezTo>
                  <a:pt x="20" y="6"/>
                  <a:pt x="11" y="8"/>
                  <a:pt x="11" y="16"/>
                </a:cubicBezTo>
                <a:cubicBezTo>
                  <a:pt x="11" y="22"/>
                  <a:pt x="17" y="24"/>
                  <a:pt x="24" y="26"/>
                </a:cubicBezTo>
                <a:cubicBezTo>
                  <a:pt x="35" y="28"/>
                  <a:pt x="35" y="28"/>
                  <a:pt x="35" y="28"/>
                </a:cubicBezTo>
                <a:cubicBezTo>
                  <a:pt x="38" y="29"/>
                  <a:pt x="51" y="32"/>
                  <a:pt x="51" y="46"/>
                </a:cubicBezTo>
                <a:cubicBezTo>
                  <a:pt x="51" y="48"/>
                  <a:pt x="51" y="54"/>
                  <a:pt x="46" y="58"/>
                </a:cubicBezTo>
                <a:cubicBezTo>
                  <a:pt x="42" y="62"/>
                  <a:pt x="37" y="65"/>
                  <a:pt x="26" y="65"/>
                </a:cubicBezTo>
                <a:cubicBezTo>
                  <a:pt x="24" y="65"/>
                  <a:pt x="16" y="65"/>
                  <a:pt x="9" y="61"/>
                </a:cubicBezTo>
                <a:cubicBezTo>
                  <a:pt x="1" y="55"/>
                  <a:pt x="0" y="46"/>
                  <a:pt x="0" y="44"/>
                </a:cubicBezTo>
                <a:lnTo>
                  <a:pt x="9" y="42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6" name="Freeform 48">
            <a:extLst>
              <a:ext uri="{FF2B5EF4-FFF2-40B4-BE49-F238E27FC236}">
                <a16:creationId xmlns:a16="http://schemas.microsoft.com/office/drawing/2014/main" id="{8D44A3C2-DA32-4152-BCB8-D84E9F5D8866}"/>
              </a:ext>
            </a:extLst>
          </p:cNvPr>
          <p:cNvSpPr>
            <a:spLocks/>
          </p:cNvSpPr>
          <p:nvPr userDrawn="1"/>
        </p:nvSpPr>
        <p:spPr bwMode="auto">
          <a:xfrm>
            <a:off x="17780154" y="8038053"/>
            <a:ext cx="274862" cy="342946"/>
          </a:xfrm>
          <a:custGeom>
            <a:avLst/>
            <a:gdLst>
              <a:gd name="T0" fmla="*/ 9 w 52"/>
              <a:gd name="T1" fmla="*/ 42 h 65"/>
              <a:gd name="T2" fmla="*/ 27 w 52"/>
              <a:gd name="T3" fmla="*/ 59 h 65"/>
              <a:gd name="T4" fmla="*/ 43 w 52"/>
              <a:gd name="T5" fmla="*/ 46 h 65"/>
              <a:gd name="T6" fmla="*/ 31 w 52"/>
              <a:gd name="T7" fmla="*/ 36 h 65"/>
              <a:gd name="T8" fmla="*/ 25 w 52"/>
              <a:gd name="T9" fmla="*/ 35 h 65"/>
              <a:gd name="T10" fmla="*/ 3 w 52"/>
              <a:gd name="T11" fmla="*/ 17 h 65"/>
              <a:gd name="T12" fmla="*/ 9 w 52"/>
              <a:gd name="T13" fmla="*/ 5 h 65"/>
              <a:gd name="T14" fmla="*/ 25 w 52"/>
              <a:gd name="T15" fmla="*/ 0 h 65"/>
              <a:gd name="T16" fmla="*/ 43 w 52"/>
              <a:gd name="T17" fmla="*/ 4 h 65"/>
              <a:gd name="T18" fmla="*/ 51 w 52"/>
              <a:gd name="T19" fmla="*/ 19 h 65"/>
              <a:gd name="T20" fmla="*/ 42 w 52"/>
              <a:gd name="T21" fmla="*/ 19 h 65"/>
              <a:gd name="T22" fmla="*/ 26 w 52"/>
              <a:gd name="T23" fmla="*/ 6 h 65"/>
              <a:gd name="T24" fmla="*/ 12 w 52"/>
              <a:gd name="T25" fmla="*/ 16 h 65"/>
              <a:gd name="T26" fmla="*/ 24 w 52"/>
              <a:gd name="T27" fmla="*/ 26 h 65"/>
              <a:gd name="T28" fmla="*/ 36 w 52"/>
              <a:gd name="T29" fmla="*/ 28 h 65"/>
              <a:gd name="T30" fmla="*/ 52 w 52"/>
              <a:gd name="T31" fmla="*/ 46 h 65"/>
              <a:gd name="T32" fmla="*/ 46 w 52"/>
              <a:gd name="T33" fmla="*/ 58 h 65"/>
              <a:gd name="T34" fmla="*/ 27 w 52"/>
              <a:gd name="T35" fmla="*/ 65 h 65"/>
              <a:gd name="T36" fmla="*/ 10 w 52"/>
              <a:gd name="T37" fmla="*/ 61 h 65"/>
              <a:gd name="T38" fmla="*/ 0 w 52"/>
              <a:gd name="T39" fmla="*/ 44 h 65"/>
              <a:gd name="T40" fmla="*/ 9 w 52"/>
              <a:gd name="T41" fmla="*/ 42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52" h="65">
                <a:moveTo>
                  <a:pt x="9" y="42"/>
                </a:moveTo>
                <a:cubicBezTo>
                  <a:pt x="9" y="45"/>
                  <a:pt x="10" y="59"/>
                  <a:pt x="27" y="59"/>
                </a:cubicBezTo>
                <a:cubicBezTo>
                  <a:pt x="32" y="59"/>
                  <a:pt x="43" y="57"/>
                  <a:pt x="43" y="46"/>
                </a:cubicBezTo>
                <a:cubicBezTo>
                  <a:pt x="43" y="39"/>
                  <a:pt x="38" y="37"/>
                  <a:pt x="31" y="36"/>
                </a:cubicBezTo>
                <a:cubicBezTo>
                  <a:pt x="25" y="35"/>
                  <a:pt x="25" y="35"/>
                  <a:pt x="25" y="35"/>
                </a:cubicBezTo>
                <a:cubicBezTo>
                  <a:pt x="11" y="32"/>
                  <a:pt x="3" y="27"/>
                  <a:pt x="3" y="17"/>
                </a:cubicBezTo>
                <a:cubicBezTo>
                  <a:pt x="3" y="12"/>
                  <a:pt x="6" y="8"/>
                  <a:pt x="9" y="5"/>
                </a:cubicBezTo>
                <a:cubicBezTo>
                  <a:pt x="15" y="0"/>
                  <a:pt x="22" y="0"/>
                  <a:pt x="25" y="0"/>
                </a:cubicBezTo>
                <a:cubicBezTo>
                  <a:pt x="32" y="0"/>
                  <a:pt x="38" y="1"/>
                  <a:pt x="43" y="4"/>
                </a:cubicBezTo>
                <a:cubicBezTo>
                  <a:pt x="48" y="9"/>
                  <a:pt x="49" y="13"/>
                  <a:pt x="51" y="19"/>
                </a:cubicBezTo>
                <a:cubicBezTo>
                  <a:pt x="42" y="19"/>
                  <a:pt x="42" y="19"/>
                  <a:pt x="42" y="19"/>
                </a:cubicBezTo>
                <a:cubicBezTo>
                  <a:pt x="42" y="16"/>
                  <a:pt x="40" y="6"/>
                  <a:pt x="26" y="6"/>
                </a:cubicBezTo>
                <a:cubicBezTo>
                  <a:pt x="20" y="6"/>
                  <a:pt x="12" y="8"/>
                  <a:pt x="12" y="16"/>
                </a:cubicBezTo>
                <a:cubicBezTo>
                  <a:pt x="12" y="22"/>
                  <a:pt x="17" y="24"/>
                  <a:pt x="24" y="26"/>
                </a:cubicBezTo>
                <a:cubicBezTo>
                  <a:pt x="36" y="28"/>
                  <a:pt x="36" y="28"/>
                  <a:pt x="36" y="28"/>
                </a:cubicBezTo>
                <a:cubicBezTo>
                  <a:pt x="39" y="29"/>
                  <a:pt x="52" y="32"/>
                  <a:pt x="52" y="46"/>
                </a:cubicBezTo>
                <a:cubicBezTo>
                  <a:pt x="52" y="48"/>
                  <a:pt x="51" y="54"/>
                  <a:pt x="46" y="58"/>
                </a:cubicBezTo>
                <a:cubicBezTo>
                  <a:pt x="43" y="62"/>
                  <a:pt x="37" y="65"/>
                  <a:pt x="27" y="65"/>
                </a:cubicBezTo>
                <a:cubicBezTo>
                  <a:pt x="25" y="65"/>
                  <a:pt x="16" y="65"/>
                  <a:pt x="10" y="61"/>
                </a:cubicBezTo>
                <a:cubicBezTo>
                  <a:pt x="1" y="55"/>
                  <a:pt x="1" y="46"/>
                  <a:pt x="0" y="44"/>
                </a:cubicBezTo>
                <a:lnTo>
                  <a:pt x="9" y="42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7" name="Freeform 49">
            <a:extLst>
              <a:ext uri="{FF2B5EF4-FFF2-40B4-BE49-F238E27FC236}">
                <a16:creationId xmlns:a16="http://schemas.microsoft.com/office/drawing/2014/main" id="{F72E198F-1535-4DE8-B4D7-7FBDD4EBC5D6}"/>
              </a:ext>
            </a:extLst>
          </p:cNvPr>
          <p:cNvSpPr>
            <a:spLocks/>
          </p:cNvSpPr>
          <p:nvPr userDrawn="1"/>
        </p:nvSpPr>
        <p:spPr bwMode="auto">
          <a:xfrm>
            <a:off x="15942514" y="9569526"/>
            <a:ext cx="269626" cy="327239"/>
          </a:xfrm>
          <a:custGeom>
            <a:avLst/>
            <a:gdLst>
              <a:gd name="T0" fmla="*/ 85 w 103"/>
              <a:gd name="T1" fmla="*/ 125 h 125"/>
              <a:gd name="T2" fmla="*/ 85 w 103"/>
              <a:gd name="T3" fmla="*/ 68 h 125"/>
              <a:gd name="T4" fmla="*/ 16 w 103"/>
              <a:gd name="T5" fmla="*/ 68 h 125"/>
              <a:gd name="T6" fmla="*/ 16 w 103"/>
              <a:gd name="T7" fmla="*/ 125 h 125"/>
              <a:gd name="T8" fmla="*/ 0 w 103"/>
              <a:gd name="T9" fmla="*/ 125 h 125"/>
              <a:gd name="T10" fmla="*/ 0 w 103"/>
              <a:gd name="T11" fmla="*/ 0 h 125"/>
              <a:gd name="T12" fmla="*/ 16 w 103"/>
              <a:gd name="T13" fmla="*/ 0 h 125"/>
              <a:gd name="T14" fmla="*/ 16 w 103"/>
              <a:gd name="T15" fmla="*/ 54 h 125"/>
              <a:gd name="T16" fmla="*/ 85 w 103"/>
              <a:gd name="T17" fmla="*/ 54 h 125"/>
              <a:gd name="T18" fmla="*/ 85 w 103"/>
              <a:gd name="T19" fmla="*/ 0 h 125"/>
              <a:gd name="T20" fmla="*/ 103 w 103"/>
              <a:gd name="T21" fmla="*/ 0 h 125"/>
              <a:gd name="T22" fmla="*/ 103 w 103"/>
              <a:gd name="T23" fmla="*/ 125 h 125"/>
              <a:gd name="T24" fmla="*/ 85 w 103"/>
              <a:gd name="T25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3" h="125">
                <a:moveTo>
                  <a:pt x="85" y="125"/>
                </a:moveTo>
                <a:lnTo>
                  <a:pt x="85" y="68"/>
                </a:lnTo>
                <a:lnTo>
                  <a:pt x="16" y="68"/>
                </a:lnTo>
                <a:lnTo>
                  <a:pt x="16" y="125"/>
                </a:lnTo>
                <a:lnTo>
                  <a:pt x="0" y="125"/>
                </a:lnTo>
                <a:lnTo>
                  <a:pt x="0" y="0"/>
                </a:lnTo>
                <a:lnTo>
                  <a:pt x="16" y="0"/>
                </a:lnTo>
                <a:lnTo>
                  <a:pt x="16" y="54"/>
                </a:lnTo>
                <a:lnTo>
                  <a:pt x="85" y="54"/>
                </a:lnTo>
                <a:lnTo>
                  <a:pt x="85" y="0"/>
                </a:lnTo>
                <a:lnTo>
                  <a:pt x="103" y="0"/>
                </a:lnTo>
                <a:lnTo>
                  <a:pt x="103" y="125"/>
                </a:lnTo>
                <a:lnTo>
                  <a:pt x="85" y="125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8" name="Freeform 50">
            <a:extLst>
              <a:ext uri="{FF2B5EF4-FFF2-40B4-BE49-F238E27FC236}">
                <a16:creationId xmlns:a16="http://schemas.microsoft.com/office/drawing/2014/main" id="{B1901FF7-7474-42FA-ABF9-265B15317B8D}"/>
              </a:ext>
            </a:extLst>
          </p:cNvPr>
          <p:cNvSpPr>
            <a:spLocks/>
          </p:cNvSpPr>
          <p:nvPr userDrawn="1"/>
        </p:nvSpPr>
        <p:spPr bwMode="auto">
          <a:xfrm>
            <a:off x="16280200" y="9569526"/>
            <a:ext cx="230359" cy="327239"/>
          </a:xfrm>
          <a:custGeom>
            <a:avLst/>
            <a:gdLst>
              <a:gd name="T0" fmla="*/ 0 w 88"/>
              <a:gd name="T1" fmla="*/ 125 h 125"/>
              <a:gd name="T2" fmla="*/ 0 w 88"/>
              <a:gd name="T3" fmla="*/ 0 h 125"/>
              <a:gd name="T4" fmla="*/ 86 w 88"/>
              <a:gd name="T5" fmla="*/ 0 h 125"/>
              <a:gd name="T6" fmla="*/ 86 w 88"/>
              <a:gd name="T7" fmla="*/ 16 h 125"/>
              <a:gd name="T8" fmla="*/ 16 w 88"/>
              <a:gd name="T9" fmla="*/ 16 h 125"/>
              <a:gd name="T10" fmla="*/ 16 w 88"/>
              <a:gd name="T11" fmla="*/ 54 h 125"/>
              <a:gd name="T12" fmla="*/ 78 w 88"/>
              <a:gd name="T13" fmla="*/ 54 h 125"/>
              <a:gd name="T14" fmla="*/ 78 w 88"/>
              <a:gd name="T15" fmla="*/ 68 h 125"/>
              <a:gd name="T16" fmla="*/ 16 w 88"/>
              <a:gd name="T17" fmla="*/ 68 h 125"/>
              <a:gd name="T18" fmla="*/ 16 w 88"/>
              <a:gd name="T19" fmla="*/ 111 h 125"/>
              <a:gd name="T20" fmla="*/ 88 w 88"/>
              <a:gd name="T21" fmla="*/ 111 h 125"/>
              <a:gd name="T22" fmla="*/ 88 w 88"/>
              <a:gd name="T23" fmla="*/ 125 h 125"/>
              <a:gd name="T24" fmla="*/ 0 w 88"/>
              <a:gd name="T25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8" h="125">
                <a:moveTo>
                  <a:pt x="0" y="125"/>
                </a:moveTo>
                <a:lnTo>
                  <a:pt x="0" y="0"/>
                </a:lnTo>
                <a:lnTo>
                  <a:pt x="86" y="0"/>
                </a:lnTo>
                <a:lnTo>
                  <a:pt x="86" y="16"/>
                </a:lnTo>
                <a:lnTo>
                  <a:pt x="16" y="16"/>
                </a:lnTo>
                <a:lnTo>
                  <a:pt x="16" y="54"/>
                </a:lnTo>
                <a:lnTo>
                  <a:pt x="78" y="54"/>
                </a:lnTo>
                <a:lnTo>
                  <a:pt x="78" y="68"/>
                </a:lnTo>
                <a:lnTo>
                  <a:pt x="16" y="68"/>
                </a:lnTo>
                <a:lnTo>
                  <a:pt x="16" y="111"/>
                </a:lnTo>
                <a:lnTo>
                  <a:pt x="88" y="111"/>
                </a:lnTo>
                <a:lnTo>
                  <a:pt x="88" y="125"/>
                </a:lnTo>
                <a:lnTo>
                  <a:pt x="0" y="125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9" name="Freeform 51">
            <a:extLst>
              <a:ext uri="{FF2B5EF4-FFF2-40B4-BE49-F238E27FC236}">
                <a16:creationId xmlns:a16="http://schemas.microsoft.com/office/drawing/2014/main" id="{1D4E006C-23AB-4AA4-8140-3D152700690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6557679" y="9569526"/>
            <a:ext cx="267008" cy="327239"/>
          </a:xfrm>
          <a:custGeom>
            <a:avLst/>
            <a:gdLst>
              <a:gd name="T0" fmla="*/ 41 w 51"/>
              <a:gd name="T1" fmla="*/ 62 h 62"/>
              <a:gd name="T2" fmla="*/ 25 w 51"/>
              <a:gd name="T3" fmla="*/ 36 h 62"/>
              <a:gd name="T4" fmla="*/ 8 w 51"/>
              <a:gd name="T5" fmla="*/ 36 h 62"/>
              <a:gd name="T6" fmla="*/ 8 w 51"/>
              <a:gd name="T7" fmla="*/ 62 h 62"/>
              <a:gd name="T8" fmla="*/ 0 w 51"/>
              <a:gd name="T9" fmla="*/ 62 h 62"/>
              <a:gd name="T10" fmla="*/ 0 w 51"/>
              <a:gd name="T11" fmla="*/ 0 h 62"/>
              <a:gd name="T12" fmla="*/ 28 w 51"/>
              <a:gd name="T13" fmla="*/ 0 h 62"/>
              <a:gd name="T14" fmla="*/ 49 w 51"/>
              <a:gd name="T15" fmla="*/ 18 h 62"/>
              <a:gd name="T16" fmla="*/ 34 w 51"/>
              <a:gd name="T17" fmla="*/ 36 h 62"/>
              <a:gd name="T18" fmla="*/ 51 w 51"/>
              <a:gd name="T19" fmla="*/ 62 h 62"/>
              <a:gd name="T20" fmla="*/ 41 w 51"/>
              <a:gd name="T21" fmla="*/ 62 h 62"/>
              <a:gd name="T22" fmla="*/ 27 w 51"/>
              <a:gd name="T23" fmla="*/ 29 h 62"/>
              <a:gd name="T24" fmla="*/ 40 w 51"/>
              <a:gd name="T25" fmla="*/ 18 h 62"/>
              <a:gd name="T26" fmla="*/ 28 w 51"/>
              <a:gd name="T27" fmla="*/ 7 h 62"/>
              <a:gd name="T28" fmla="*/ 8 w 51"/>
              <a:gd name="T29" fmla="*/ 7 h 62"/>
              <a:gd name="T30" fmla="*/ 8 w 51"/>
              <a:gd name="T31" fmla="*/ 29 h 62"/>
              <a:gd name="T32" fmla="*/ 27 w 51"/>
              <a:gd name="T33" fmla="*/ 29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1" h="62">
                <a:moveTo>
                  <a:pt x="41" y="62"/>
                </a:moveTo>
                <a:cubicBezTo>
                  <a:pt x="25" y="36"/>
                  <a:pt x="25" y="36"/>
                  <a:pt x="25" y="36"/>
                </a:cubicBezTo>
                <a:cubicBezTo>
                  <a:pt x="8" y="36"/>
                  <a:pt x="8" y="36"/>
                  <a:pt x="8" y="36"/>
                </a:cubicBezTo>
                <a:cubicBezTo>
                  <a:pt x="8" y="62"/>
                  <a:pt x="8" y="62"/>
                  <a:pt x="8" y="62"/>
                </a:cubicBezTo>
                <a:cubicBezTo>
                  <a:pt x="0" y="62"/>
                  <a:pt x="0" y="62"/>
                  <a:pt x="0" y="62"/>
                </a:cubicBezTo>
                <a:cubicBezTo>
                  <a:pt x="0" y="0"/>
                  <a:pt x="0" y="0"/>
                  <a:pt x="0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40" y="0"/>
                  <a:pt x="49" y="6"/>
                  <a:pt x="49" y="18"/>
                </a:cubicBezTo>
                <a:cubicBezTo>
                  <a:pt x="49" y="26"/>
                  <a:pt x="45" y="34"/>
                  <a:pt x="34" y="36"/>
                </a:cubicBezTo>
                <a:cubicBezTo>
                  <a:pt x="51" y="62"/>
                  <a:pt x="51" y="62"/>
                  <a:pt x="51" y="62"/>
                </a:cubicBezTo>
                <a:lnTo>
                  <a:pt x="41" y="62"/>
                </a:lnTo>
                <a:close/>
                <a:moveTo>
                  <a:pt x="27" y="29"/>
                </a:moveTo>
                <a:cubicBezTo>
                  <a:pt x="34" y="29"/>
                  <a:pt x="40" y="27"/>
                  <a:pt x="40" y="18"/>
                </a:cubicBezTo>
                <a:cubicBezTo>
                  <a:pt x="40" y="12"/>
                  <a:pt x="36" y="7"/>
                  <a:pt x="28" y="7"/>
                </a:cubicBezTo>
                <a:cubicBezTo>
                  <a:pt x="8" y="7"/>
                  <a:pt x="8" y="7"/>
                  <a:pt x="8" y="7"/>
                </a:cubicBezTo>
                <a:cubicBezTo>
                  <a:pt x="8" y="29"/>
                  <a:pt x="8" y="29"/>
                  <a:pt x="8" y="29"/>
                </a:cubicBezTo>
                <a:lnTo>
                  <a:pt x="27" y="29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0" name="Freeform 52">
            <a:extLst>
              <a:ext uri="{FF2B5EF4-FFF2-40B4-BE49-F238E27FC236}">
                <a16:creationId xmlns:a16="http://schemas.microsoft.com/office/drawing/2014/main" id="{64F04184-CC14-48C9-97A0-E6BF65F76469}"/>
              </a:ext>
            </a:extLst>
          </p:cNvPr>
          <p:cNvSpPr>
            <a:spLocks/>
          </p:cNvSpPr>
          <p:nvPr userDrawn="1"/>
        </p:nvSpPr>
        <p:spPr bwMode="auto">
          <a:xfrm>
            <a:off x="16866570" y="9569526"/>
            <a:ext cx="232978" cy="327239"/>
          </a:xfrm>
          <a:custGeom>
            <a:avLst/>
            <a:gdLst>
              <a:gd name="T0" fmla="*/ 0 w 89"/>
              <a:gd name="T1" fmla="*/ 125 h 125"/>
              <a:gd name="T2" fmla="*/ 0 w 89"/>
              <a:gd name="T3" fmla="*/ 0 h 125"/>
              <a:gd name="T4" fmla="*/ 87 w 89"/>
              <a:gd name="T5" fmla="*/ 0 h 125"/>
              <a:gd name="T6" fmla="*/ 87 w 89"/>
              <a:gd name="T7" fmla="*/ 16 h 125"/>
              <a:gd name="T8" fmla="*/ 16 w 89"/>
              <a:gd name="T9" fmla="*/ 16 h 125"/>
              <a:gd name="T10" fmla="*/ 16 w 89"/>
              <a:gd name="T11" fmla="*/ 54 h 125"/>
              <a:gd name="T12" fmla="*/ 77 w 89"/>
              <a:gd name="T13" fmla="*/ 54 h 125"/>
              <a:gd name="T14" fmla="*/ 77 w 89"/>
              <a:gd name="T15" fmla="*/ 68 h 125"/>
              <a:gd name="T16" fmla="*/ 16 w 89"/>
              <a:gd name="T17" fmla="*/ 68 h 125"/>
              <a:gd name="T18" fmla="*/ 16 w 89"/>
              <a:gd name="T19" fmla="*/ 111 h 125"/>
              <a:gd name="T20" fmla="*/ 89 w 89"/>
              <a:gd name="T21" fmla="*/ 111 h 125"/>
              <a:gd name="T22" fmla="*/ 89 w 89"/>
              <a:gd name="T23" fmla="*/ 125 h 125"/>
              <a:gd name="T24" fmla="*/ 0 w 89"/>
              <a:gd name="T25" fmla="*/ 125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9" h="125">
                <a:moveTo>
                  <a:pt x="0" y="125"/>
                </a:moveTo>
                <a:lnTo>
                  <a:pt x="0" y="0"/>
                </a:lnTo>
                <a:lnTo>
                  <a:pt x="87" y="0"/>
                </a:lnTo>
                <a:lnTo>
                  <a:pt x="87" y="16"/>
                </a:lnTo>
                <a:lnTo>
                  <a:pt x="16" y="16"/>
                </a:lnTo>
                <a:lnTo>
                  <a:pt x="16" y="54"/>
                </a:lnTo>
                <a:lnTo>
                  <a:pt x="77" y="54"/>
                </a:lnTo>
                <a:lnTo>
                  <a:pt x="77" y="68"/>
                </a:lnTo>
                <a:lnTo>
                  <a:pt x="16" y="68"/>
                </a:lnTo>
                <a:lnTo>
                  <a:pt x="16" y="111"/>
                </a:lnTo>
                <a:lnTo>
                  <a:pt x="89" y="111"/>
                </a:lnTo>
                <a:lnTo>
                  <a:pt x="89" y="125"/>
                </a:lnTo>
                <a:lnTo>
                  <a:pt x="0" y="125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  <p:custDataLst>
              <p:tags r:id="rId1"/>
            </p:custDataLst>
          </p:nvPr>
        </p:nvSpPr>
        <p:spPr>
          <a:xfrm>
            <a:off x="724223" y="1442611"/>
            <a:ext cx="12355651" cy="1187526"/>
          </a:xfrm>
        </p:spPr>
        <p:txBody>
          <a:bodyPr>
            <a:normAutofit/>
          </a:bodyPr>
          <a:lstStyle>
            <a:lvl1pPr marL="0" marR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89"/>
              </a:spcAft>
              <a:buClrTx/>
              <a:buSzTx/>
              <a:buFont typeface="Arial" pitchFamily="34" charset="0"/>
              <a:buNone/>
              <a:tabLst/>
              <a:defRPr sz="7915">
                <a:solidFill>
                  <a:schemeClr val="bg1"/>
                </a:solidFill>
              </a:defRPr>
            </a:lvl1pPr>
          </a:lstStyle>
          <a:p>
            <a:pPr marL="0" marR="0" lvl="0" indent="0" algn="l" defTabSz="15078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89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7915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&lt;&lt;In the event of a fire&gt;&gt;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724223" y="2745140"/>
            <a:ext cx="12355651" cy="1662697"/>
          </a:xfrm>
        </p:spPr>
        <p:txBody>
          <a:bodyPr>
            <a:normAutofit/>
          </a:bodyPr>
          <a:lstStyle>
            <a:lvl1pPr>
              <a:defRPr sz="5936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&lt;&lt;Please leave the way you came in ... but faster.&gt;&gt;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725111" y="4645105"/>
            <a:ext cx="11523209" cy="772077"/>
          </a:xfrm>
        </p:spPr>
        <p:txBody>
          <a:bodyPr>
            <a:normAutofit/>
          </a:bodyPr>
          <a:lstStyle>
            <a:lvl1pPr>
              <a:defRPr sz="3958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&lt;&lt;</a:t>
            </a:r>
            <a:r>
              <a:rPr lang="en-GB" dirty="0" err="1"/>
              <a:t>Labels.Do</a:t>
            </a:r>
            <a:r>
              <a:rPr lang="en-GB" dirty="0"/>
              <a:t> not stop to pick up personal belongings&gt;&gt;</a:t>
            </a:r>
          </a:p>
        </p:txBody>
      </p:sp>
    </p:spTree>
    <p:extLst>
      <p:ext uri="{BB962C8B-B14F-4D97-AF65-F5344CB8AC3E}">
        <p14:creationId xmlns:p14="http://schemas.microsoft.com/office/powerpoint/2010/main" val="41921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" fill="hold">
                                          <p:stCondLst>
                                            <p:cond delay="298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" fill="hold">
                                          <p:stCondLst>
                                            <p:cond delay="447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32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2" fill="hold">
                                          <p:stCondLst>
                                            <p:cond delay="14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2" fill="hold">
                                          <p:stCondLst>
                                            <p:cond delay="298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" fill="hold">
                                          <p:stCondLst>
                                            <p:cond delay="447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2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27" presetClass="emph" presetSubtype="0" repeatCount="indefinite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750" autoRev="1" fill="remove"/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9" dur="750" autoRev="1" fill="remove"/>
                                        <p:tgtEl>
                                          <p:spTgt spid="10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0" dur="750" autoRev="1" fill="remove"/>
                                        <p:tgtEl>
                                          <p:spTgt spid="10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750" autoRev="1" fill="remove"/>
                                        <p:tgtEl>
                                          <p:spTgt spid="10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  <p:bldP spid="101" grpId="0" animBg="1"/>
      <p:bldP spid="102" grpId="0" animBg="1"/>
    </p:bld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Fi info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31">
            <a:extLst>
              <a:ext uri="{FF2B5EF4-FFF2-40B4-BE49-F238E27FC236}">
                <a16:creationId xmlns:a16="http://schemas.microsoft.com/office/drawing/2014/main" id="{F95DEC9C-58F3-4C95-A7E6-0DE5EB0367B9}"/>
              </a:ext>
            </a:extLst>
          </p:cNvPr>
          <p:cNvSpPr>
            <a:spLocks noChangeShapeType="1"/>
          </p:cNvSpPr>
          <p:nvPr userDrawn="1"/>
        </p:nvSpPr>
        <p:spPr bwMode="white">
          <a:xfrm>
            <a:off x="724702" y="712400"/>
            <a:ext cx="18654700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968"/>
          </a:p>
        </p:txBody>
      </p:sp>
      <p:sp>
        <p:nvSpPr>
          <p:cNvPr id="8" name="Line 31">
            <a:extLst>
              <a:ext uri="{FF2B5EF4-FFF2-40B4-BE49-F238E27FC236}">
                <a16:creationId xmlns:a16="http://schemas.microsoft.com/office/drawing/2014/main" id="{153B1FF1-414A-4719-96AA-A7A333EAA173}"/>
              </a:ext>
            </a:extLst>
          </p:cNvPr>
          <p:cNvSpPr>
            <a:spLocks noChangeShapeType="1"/>
          </p:cNvSpPr>
          <p:nvPr userDrawn="1"/>
        </p:nvSpPr>
        <p:spPr bwMode="white">
          <a:xfrm>
            <a:off x="724702" y="10596950"/>
            <a:ext cx="18654700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968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9EB639A2-9A0F-4824-82CD-2424E595B92C}"/>
              </a:ext>
            </a:extLst>
          </p:cNvPr>
          <p:cNvSpPr>
            <a:spLocks/>
          </p:cNvSpPr>
          <p:nvPr userDrawn="1"/>
        </p:nvSpPr>
        <p:spPr bwMode="auto">
          <a:xfrm>
            <a:off x="14499091" y="6036794"/>
            <a:ext cx="4888993" cy="4566456"/>
          </a:xfrm>
          <a:custGeom>
            <a:avLst/>
            <a:gdLst>
              <a:gd name="T0" fmla="*/ 948 w 968"/>
              <a:gd name="T1" fmla="*/ 0 h 905"/>
              <a:gd name="T2" fmla="*/ 20 w 968"/>
              <a:gd name="T3" fmla="*/ 0 h 905"/>
              <a:gd name="T4" fmla="*/ 0 w 968"/>
              <a:gd name="T5" fmla="*/ 20 h 905"/>
              <a:gd name="T6" fmla="*/ 0 w 968"/>
              <a:gd name="T7" fmla="*/ 740 h 905"/>
              <a:gd name="T8" fmla="*/ 20 w 968"/>
              <a:gd name="T9" fmla="*/ 761 h 905"/>
              <a:gd name="T10" fmla="*/ 400 w 968"/>
              <a:gd name="T11" fmla="*/ 761 h 905"/>
              <a:gd name="T12" fmla="*/ 384 w 968"/>
              <a:gd name="T13" fmla="*/ 864 h 905"/>
              <a:gd name="T14" fmla="*/ 345 w 968"/>
              <a:gd name="T15" fmla="*/ 864 h 905"/>
              <a:gd name="T16" fmla="*/ 325 w 968"/>
              <a:gd name="T17" fmla="*/ 885 h 905"/>
              <a:gd name="T18" fmla="*/ 345 w 968"/>
              <a:gd name="T19" fmla="*/ 905 h 905"/>
              <a:gd name="T20" fmla="*/ 624 w 968"/>
              <a:gd name="T21" fmla="*/ 905 h 905"/>
              <a:gd name="T22" fmla="*/ 645 w 968"/>
              <a:gd name="T23" fmla="*/ 885 h 905"/>
              <a:gd name="T24" fmla="*/ 624 w 968"/>
              <a:gd name="T25" fmla="*/ 864 h 905"/>
              <a:gd name="T26" fmla="*/ 584 w 968"/>
              <a:gd name="T27" fmla="*/ 864 h 905"/>
              <a:gd name="T28" fmla="*/ 566 w 968"/>
              <a:gd name="T29" fmla="*/ 761 h 905"/>
              <a:gd name="T30" fmla="*/ 948 w 968"/>
              <a:gd name="T31" fmla="*/ 761 h 905"/>
              <a:gd name="T32" fmla="*/ 968 w 968"/>
              <a:gd name="T33" fmla="*/ 740 h 905"/>
              <a:gd name="T34" fmla="*/ 968 w 968"/>
              <a:gd name="T35" fmla="*/ 20 h 905"/>
              <a:gd name="T36" fmla="*/ 948 w 968"/>
              <a:gd name="T37" fmla="*/ 0 h 9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968" h="905">
                <a:moveTo>
                  <a:pt x="948" y="0"/>
                </a:moveTo>
                <a:cubicBezTo>
                  <a:pt x="20" y="0"/>
                  <a:pt x="20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740"/>
                  <a:pt x="0" y="740"/>
                  <a:pt x="0" y="740"/>
                </a:cubicBezTo>
                <a:cubicBezTo>
                  <a:pt x="0" y="752"/>
                  <a:pt x="9" y="761"/>
                  <a:pt x="20" y="761"/>
                </a:cubicBezTo>
                <a:cubicBezTo>
                  <a:pt x="400" y="761"/>
                  <a:pt x="400" y="761"/>
                  <a:pt x="400" y="761"/>
                </a:cubicBezTo>
                <a:cubicBezTo>
                  <a:pt x="384" y="864"/>
                  <a:pt x="384" y="864"/>
                  <a:pt x="384" y="864"/>
                </a:cubicBezTo>
                <a:cubicBezTo>
                  <a:pt x="345" y="864"/>
                  <a:pt x="345" y="864"/>
                  <a:pt x="345" y="864"/>
                </a:cubicBezTo>
                <a:cubicBezTo>
                  <a:pt x="334" y="864"/>
                  <a:pt x="325" y="873"/>
                  <a:pt x="325" y="885"/>
                </a:cubicBezTo>
                <a:cubicBezTo>
                  <a:pt x="325" y="896"/>
                  <a:pt x="334" y="905"/>
                  <a:pt x="345" y="905"/>
                </a:cubicBezTo>
                <a:cubicBezTo>
                  <a:pt x="624" y="905"/>
                  <a:pt x="624" y="905"/>
                  <a:pt x="624" y="905"/>
                </a:cubicBezTo>
                <a:cubicBezTo>
                  <a:pt x="636" y="905"/>
                  <a:pt x="645" y="896"/>
                  <a:pt x="645" y="885"/>
                </a:cubicBezTo>
                <a:cubicBezTo>
                  <a:pt x="645" y="873"/>
                  <a:pt x="636" y="864"/>
                  <a:pt x="624" y="864"/>
                </a:cubicBezTo>
                <a:cubicBezTo>
                  <a:pt x="584" y="864"/>
                  <a:pt x="584" y="864"/>
                  <a:pt x="584" y="864"/>
                </a:cubicBezTo>
                <a:cubicBezTo>
                  <a:pt x="566" y="761"/>
                  <a:pt x="566" y="761"/>
                  <a:pt x="566" y="761"/>
                </a:cubicBezTo>
                <a:cubicBezTo>
                  <a:pt x="948" y="761"/>
                  <a:pt x="948" y="761"/>
                  <a:pt x="948" y="761"/>
                </a:cubicBezTo>
                <a:cubicBezTo>
                  <a:pt x="959" y="761"/>
                  <a:pt x="968" y="752"/>
                  <a:pt x="968" y="740"/>
                </a:cubicBezTo>
                <a:cubicBezTo>
                  <a:pt x="968" y="20"/>
                  <a:pt x="968" y="20"/>
                  <a:pt x="968" y="20"/>
                </a:cubicBezTo>
                <a:cubicBezTo>
                  <a:pt x="968" y="9"/>
                  <a:pt x="959" y="0"/>
                  <a:pt x="948" y="0"/>
                </a:cubicBezTo>
              </a:path>
            </a:pathLst>
          </a:custGeom>
          <a:solidFill>
            <a:srgbClr val="B2B2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CEBBD76C-9FEF-4843-ACA2-B10A0A21BB64}"/>
              </a:ext>
            </a:extLst>
          </p:cNvPr>
          <p:cNvSpPr>
            <a:spLocks/>
          </p:cNvSpPr>
          <p:nvPr userDrawn="1"/>
        </p:nvSpPr>
        <p:spPr bwMode="auto">
          <a:xfrm>
            <a:off x="14550069" y="6087775"/>
            <a:ext cx="4787038" cy="3012745"/>
          </a:xfrm>
          <a:custGeom>
            <a:avLst/>
            <a:gdLst>
              <a:gd name="T0" fmla="*/ 938 w 948"/>
              <a:gd name="T1" fmla="*/ 597 h 597"/>
              <a:gd name="T2" fmla="*/ 10 w 948"/>
              <a:gd name="T3" fmla="*/ 597 h 597"/>
              <a:gd name="T4" fmla="*/ 0 w 948"/>
              <a:gd name="T5" fmla="*/ 586 h 597"/>
              <a:gd name="T6" fmla="*/ 0 w 948"/>
              <a:gd name="T7" fmla="*/ 10 h 597"/>
              <a:gd name="T8" fmla="*/ 10 w 948"/>
              <a:gd name="T9" fmla="*/ 0 h 597"/>
              <a:gd name="T10" fmla="*/ 938 w 948"/>
              <a:gd name="T11" fmla="*/ 0 h 597"/>
              <a:gd name="T12" fmla="*/ 948 w 948"/>
              <a:gd name="T13" fmla="*/ 10 h 597"/>
              <a:gd name="T14" fmla="*/ 948 w 948"/>
              <a:gd name="T15" fmla="*/ 586 h 597"/>
              <a:gd name="T16" fmla="*/ 938 w 948"/>
              <a:gd name="T17" fmla="*/ 597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48" h="597">
                <a:moveTo>
                  <a:pt x="938" y="597"/>
                </a:moveTo>
                <a:cubicBezTo>
                  <a:pt x="10" y="597"/>
                  <a:pt x="10" y="597"/>
                  <a:pt x="10" y="597"/>
                </a:cubicBezTo>
                <a:cubicBezTo>
                  <a:pt x="4" y="597"/>
                  <a:pt x="0" y="592"/>
                  <a:pt x="0" y="586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4"/>
                  <a:pt x="4" y="0"/>
                  <a:pt x="10" y="0"/>
                </a:cubicBezTo>
                <a:cubicBezTo>
                  <a:pt x="938" y="0"/>
                  <a:pt x="938" y="0"/>
                  <a:pt x="938" y="0"/>
                </a:cubicBezTo>
                <a:cubicBezTo>
                  <a:pt x="944" y="0"/>
                  <a:pt x="948" y="4"/>
                  <a:pt x="948" y="10"/>
                </a:cubicBezTo>
                <a:cubicBezTo>
                  <a:pt x="948" y="586"/>
                  <a:pt x="948" y="586"/>
                  <a:pt x="948" y="586"/>
                </a:cubicBezTo>
                <a:cubicBezTo>
                  <a:pt x="948" y="592"/>
                  <a:pt x="944" y="597"/>
                  <a:pt x="938" y="597"/>
                </a:cubicBezTo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Oval 7">
            <a:extLst>
              <a:ext uri="{FF2B5EF4-FFF2-40B4-BE49-F238E27FC236}">
                <a16:creationId xmlns:a16="http://schemas.microsoft.com/office/drawing/2014/main" id="{C0E130CB-EDFB-4330-A5F8-7F69C8605F7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797676" y="9457388"/>
            <a:ext cx="116520" cy="121383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Oval 8">
            <a:extLst>
              <a:ext uri="{FF2B5EF4-FFF2-40B4-BE49-F238E27FC236}">
                <a16:creationId xmlns:a16="http://schemas.microsoft.com/office/drawing/2014/main" id="{9B57CC65-D4CE-4B18-AD35-99570CD9BC4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004013" y="9452532"/>
            <a:ext cx="116520" cy="121383"/>
          </a:xfrm>
          <a:prstGeom prst="ellipse">
            <a:avLst/>
          </a:pr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A4BDA76-1F78-4385-BAC4-FC7C649290E0}"/>
              </a:ext>
            </a:extLst>
          </p:cNvPr>
          <p:cNvGrpSpPr/>
          <p:nvPr userDrawn="1"/>
        </p:nvGrpSpPr>
        <p:grpSpPr>
          <a:xfrm rot="998904">
            <a:off x="15013810" y="6233836"/>
            <a:ext cx="3962834" cy="4210714"/>
            <a:chOff x="2944504" y="3255413"/>
            <a:chExt cx="1563996" cy="1661709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F3B8448-644F-4021-9F1F-8D1D4C692A76}"/>
                </a:ext>
              </a:extLst>
            </p:cNvPr>
            <p:cNvGrpSpPr/>
            <p:nvPr/>
          </p:nvGrpSpPr>
          <p:grpSpPr>
            <a:xfrm>
              <a:off x="3041368" y="3255413"/>
              <a:ext cx="1046163" cy="765175"/>
              <a:chOff x="3041368" y="3255413"/>
              <a:chExt cx="1046163" cy="765175"/>
            </a:xfrm>
          </p:grpSpPr>
          <p:sp>
            <p:nvSpPr>
              <p:cNvPr id="23" name="Freeform 124">
                <a:extLst>
                  <a:ext uri="{FF2B5EF4-FFF2-40B4-BE49-F238E27FC236}">
                    <a16:creationId xmlns:a16="http://schemas.microsoft.com/office/drawing/2014/main" id="{B27A47FF-5CBE-46E5-A33A-403322D10A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1368" y="3255413"/>
                <a:ext cx="1046163" cy="557213"/>
              </a:xfrm>
              <a:custGeom>
                <a:avLst/>
                <a:gdLst>
                  <a:gd name="T0" fmla="*/ 18 w 317"/>
                  <a:gd name="T1" fmla="*/ 169 h 169"/>
                  <a:gd name="T2" fmla="*/ 0 w 317"/>
                  <a:gd name="T3" fmla="*/ 159 h 169"/>
                  <a:gd name="T4" fmla="*/ 317 w 317"/>
                  <a:gd name="T5" fmla="*/ 60 h 169"/>
                  <a:gd name="T6" fmla="*/ 307 w 317"/>
                  <a:gd name="T7" fmla="*/ 77 h 169"/>
                  <a:gd name="T8" fmla="*/ 18 w 317"/>
                  <a:gd name="T9" fmla="*/ 169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7" h="169">
                    <a:moveTo>
                      <a:pt x="18" y="169"/>
                    </a:moveTo>
                    <a:cubicBezTo>
                      <a:pt x="0" y="159"/>
                      <a:pt x="0" y="159"/>
                      <a:pt x="0" y="159"/>
                    </a:cubicBezTo>
                    <a:cubicBezTo>
                      <a:pt x="60" y="45"/>
                      <a:pt x="202" y="0"/>
                      <a:pt x="317" y="60"/>
                    </a:cubicBezTo>
                    <a:cubicBezTo>
                      <a:pt x="307" y="77"/>
                      <a:pt x="307" y="77"/>
                      <a:pt x="307" y="77"/>
                    </a:cubicBezTo>
                    <a:cubicBezTo>
                      <a:pt x="202" y="23"/>
                      <a:pt x="73" y="64"/>
                      <a:pt x="18" y="169"/>
                    </a:cubicBezTo>
                    <a:close/>
                  </a:path>
                </a:pathLst>
              </a:custGeom>
              <a:solidFill>
                <a:srgbClr val="2B4558"/>
              </a:solidFill>
              <a:ln w="28575">
                <a:solidFill>
                  <a:srgbClr val="2B4558"/>
                </a:solidFill>
                <a:round/>
                <a:headEnd/>
                <a:tailEnd/>
              </a:ln>
            </p:spPr>
            <p:txBody>
              <a:bodyPr vert="horz" wrap="square" lIns="88809" tIns="44404" rIns="88809" bIns="44404" numCol="1" anchor="t" anchorCtr="0" compatLnSpc="1">
                <a:prstTxWarp prst="textNoShape">
                  <a:avLst/>
                </a:prstTxWarp>
              </a:bodyPr>
              <a:lstStyle/>
              <a:p>
                <a:pPr defTabSz="1464419"/>
                <a:endParaRPr lang="en-GB" sz="2882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4" name="Freeform 125">
                <a:extLst>
                  <a:ext uri="{FF2B5EF4-FFF2-40B4-BE49-F238E27FC236}">
                    <a16:creationId xmlns:a16="http://schemas.microsoft.com/office/drawing/2014/main" id="{1325FCA5-C08E-4D65-AEA2-EFE9A8A2F0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3293" y="3463375"/>
                <a:ext cx="798513" cy="422275"/>
              </a:xfrm>
              <a:custGeom>
                <a:avLst/>
                <a:gdLst>
                  <a:gd name="T0" fmla="*/ 12 w 242"/>
                  <a:gd name="T1" fmla="*/ 128 h 128"/>
                  <a:gd name="T2" fmla="*/ 0 w 242"/>
                  <a:gd name="T3" fmla="*/ 122 h 128"/>
                  <a:gd name="T4" fmla="*/ 242 w 242"/>
                  <a:gd name="T5" fmla="*/ 45 h 128"/>
                  <a:gd name="T6" fmla="*/ 236 w 242"/>
                  <a:gd name="T7" fmla="*/ 58 h 128"/>
                  <a:gd name="T8" fmla="*/ 109 w 242"/>
                  <a:gd name="T9" fmla="*/ 47 h 128"/>
                  <a:gd name="T10" fmla="*/ 12 w 242"/>
                  <a:gd name="T11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2" h="128">
                    <a:moveTo>
                      <a:pt x="12" y="128"/>
                    </a:moveTo>
                    <a:cubicBezTo>
                      <a:pt x="0" y="122"/>
                      <a:pt x="0" y="122"/>
                      <a:pt x="0" y="122"/>
                    </a:cubicBezTo>
                    <a:cubicBezTo>
                      <a:pt x="46" y="34"/>
                      <a:pt x="154" y="0"/>
                      <a:pt x="242" y="45"/>
                    </a:cubicBezTo>
                    <a:cubicBezTo>
                      <a:pt x="236" y="58"/>
                      <a:pt x="236" y="58"/>
                      <a:pt x="236" y="58"/>
                    </a:cubicBezTo>
                    <a:cubicBezTo>
                      <a:pt x="196" y="37"/>
                      <a:pt x="152" y="34"/>
                      <a:pt x="109" y="47"/>
                    </a:cubicBezTo>
                    <a:cubicBezTo>
                      <a:pt x="67" y="60"/>
                      <a:pt x="33" y="89"/>
                      <a:pt x="12" y="128"/>
                    </a:cubicBezTo>
                    <a:close/>
                  </a:path>
                </a:pathLst>
              </a:custGeom>
              <a:solidFill>
                <a:srgbClr val="2B4558"/>
              </a:solidFill>
              <a:ln w="28575">
                <a:solidFill>
                  <a:srgbClr val="2B4558"/>
                </a:solidFill>
                <a:round/>
                <a:headEnd/>
                <a:tailEnd/>
              </a:ln>
            </p:spPr>
            <p:txBody>
              <a:bodyPr vert="horz" wrap="square" lIns="88809" tIns="44404" rIns="88809" bIns="44404" numCol="1" anchor="t" anchorCtr="0" compatLnSpc="1">
                <a:prstTxWarp prst="textNoShape">
                  <a:avLst/>
                </a:prstTxWarp>
              </a:bodyPr>
              <a:lstStyle/>
              <a:p>
                <a:pPr defTabSz="1464419"/>
                <a:endParaRPr lang="en-GB" sz="2882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5" name="Freeform 126">
                <a:extLst>
                  <a:ext uri="{FF2B5EF4-FFF2-40B4-BE49-F238E27FC236}">
                    <a16:creationId xmlns:a16="http://schemas.microsoft.com/office/drawing/2014/main" id="{143DBC16-73FC-499A-9A75-48E23BEF24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4106" y="3657050"/>
                <a:ext cx="568325" cy="304800"/>
              </a:xfrm>
              <a:custGeom>
                <a:avLst/>
                <a:gdLst>
                  <a:gd name="T0" fmla="*/ 10 w 172"/>
                  <a:gd name="T1" fmla="*/ 92 h 92"/>
                  <a:gd name="T2" fmla="*/ 0 w 172"/>
                  <a:gd name="T3" fmla="*/ 87 h 92"/>
                  <a:gd name="T4" fmla="*/ 172 w 172"/>
                  <a:gd name="T5" fmla="*/ 32 h 92"/>
                  <a:gd name="T6" fmla="*/ 167 w 172"/>
                  <a:gd name="T7" fmla="*/ 43 h 92"/>
                  <a:gd name="T8" fmla="*/ 10 w 172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2" h="92">
                    <a:moveTo>
                      <a:pt x="10" y="92"/>
                    </a:moveTo>
                    <a:cubicBezTo>
                      <a:pt x="0" y="87"/>
                      <a:pt x="0" y="87"/>
                      <a:pt x="0" y="87"/>
                    </a:cubicBezTo>
                    <a:cubicBezTo>
                      <a:pt x="32" y="24"/>
                      <a:pt x="110" y="0"/>
                      <a:pt x="172" y="32"/>
                    </a:cubicBezTo>
                    <a:cubicBezTo>
                      <a:pt x="167" y="43"/>
                      <a:pt x="167" y="43"/>
                      <a:pt x="167" y="43"/>
                    </a:cubicBezTo>
                    <a:cubicBezTo>
                      <a:pt x="110" y="13"/>
                      <a:pt x="40" y="35"/>
                      <a:pt x="10" y="92"/>
                    </a:cubicBezTo>
                    <a:close/>
                  </a:path>
                </a:pathLst>
              </a:custGeom>
              <a:solidFill>
                <a:srgbClr val="647082"/>
              </a:solidFill>
              <a:ln w="28575">
                <a:solidFill>
                  <a:srgbClr val="647082"/>
                </a:solidFill>
                <a:round/>
                <a:headEnd/>
                <a:tailEnd/>
              </a:ln>
            </p:spPr>
            <p:txBody>
              <a:bodyPr vert="horz" wrap="square" lIns="88809" tIns="44404" rIns="88809" bIns="44404" numCol="1" anchor="t" anchorCtr="0" compatLnSpc="1">
                <a:prstTxWarp prst="textNoShape">
                  <a:avLst/>
                </a:prstTxWarp>
              </a:bodyPr>
              <a:lstStyle/>
              <a:p>
                <a:pPr defTabSz="1464419"/>
                <a:endParaRPr lang="en-GB" sz="2882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26" name="Freeform 127">
                <a:extLst>
                  <a:ext uri="{FF2B5EF4-FFF2-40B4-BE49-F238E27FC236}">
                    <a16:creationId xmlns:a16="http://schemas.microsoft.com/office/drawing/2014/main" id="{78F367EE-792B-4DB4-9EBD-B0A5AA5333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868" y="3855488"/>
                <a:ext cx="366713" cy="165100"/>
              </a:xfrm>
              <a:custGeom>
                <a:avLst/>
                <a:gdLst>
                  <a:gd name="T0" fmla="*/ 5 w 111"/>
                  <a:gd name="T1" fmla="*/ 50 h 50"/>
                  <a:gd name="T2" fmla="*/ 0 w 111"/>
                  <a:gd name="T3" fmla="*/ 48 h 50"/>
                  <a:gd name="T4" fmla="*/ 48 w 111"/>
                  <a:gd name="T5" fmla="*/ 7 h 50"/>
                  <a:gd name="T6" fmla="*/ 111 w 111"/>
                  <a:gd name="T7" fmla="*/ 12 h 50"/>
                  <a:gd name="T8" fmla="*/ 109 w 111"/>
                  <a:gd name="T9" fmla="*/ 18 h 50"/>
                  <a:gd name="T10" fmla="*/ 50 w 111"/>
                  <a:gd name="T11" fmla="*/ 13 h 50"/>
                  <a:gd name="T12" fmla="*/ 5 w 111"/>
                  <a:gd name="T13" fmla="*/ 5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1" h="50">
                    <a:moveTo>
                      <a:pt x="5" y="50"/>
                    </a:moveTo>
                    <a:cubicBezTo>
                      <a:pt x="0" y="48"/>
                      <a:pt x="0" y="48"/>
                      <a:pt x="0" y="48"/>
                    </a:cubicBezTo>
                    <a:cubicBezTo>
                      <a:pt x="10" y="28"/>
                      <a:pt x="27" y="14"/>
                      <a:pt x="48" y="7"/>
                    </a:cubicBezTo>
                    <a:cubicBezTo>
                      <a:pt x="69" y="0"/>
                      <a:pt x="92" y="2"/>
                      <a:pt x="111" y="12"/>
                    </a:cubicBezTo>
                    <a:cubicBezTo>
                      <a:pt x="109" y="18"/>
                      <a:pt x="109" y="18"/>
                      <a:pt x="109" y="18"/>
                    </a:cubicBezTo>
                    <a:cubicBezTo>
                      <a:pt x="91" y="8"/>
                      <a:pt x="70" y="6"/>
                      <a:pt x="50" y="13"/>
                    </a:cubicBezTo>
                    <a:cubicBezTo>
                      <a:pt x="31" y="19"/>
                      <a:pt x="15" y="32"/>
                      <a:pt x="5" y="50"/>
                    </a:cubicBezTo>
                    <a:close/>
                  </a:path>
                </a:pathLst>
              </a:custGeom>
              <a:solidFill>
                <a:srgbClr val="647082"/>
              </a:solidFill>
              <a:ln w="28575">
                <a:solidFill>
                  <a:srgbClr val="647082"/>
                </a:solidFill>
                <a:round/>
                <a:headEnd/>
                <a:tailEnd/>
              </a:ln>
            </p:spPr>
            <p:txBody>
              <a:bodyPr vert="horz" wrap="square" lIns="88809" tIns="44404" rIns="88809" bIns="44404" numCol="1" anchor="t" anchorCtr="0" compatLnSpc="1">
                <a:prstTxWarp prst="textNoShape">
                  <a:avLst/>
                </a:prstTxWarp>
              </a:bodyPr>
              <a:lstStyle/>
              <a:p>
                <a:pPr defTabSz="1464419"/>
                <a:endParaRPr lang="en-GB" sz="2882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D4264BF-CAC6-44CD-A339-B67445B188A7}"/>
                </a:ext>
              </a:extLst>
            </p:cNvPr>
            <p:cNvSpPr/>
            <p:nvPr/>
          </p:nvSpPr>
          <p:spPr>
            <a:xfrm>
              <a:off x="2944504" y="3353126"/>
              <a:ext cx="1563996" cy="1563996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410" bIns="87410" rtlCol="0" anchor="ctr"/>
            <a:lstStyle/>
            <a:p>
              <a:pPr algn="ctr" defTabSz="1464419"/>
              <a:endParaRPr lang="en-GB" sz="2563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27" name="Freeform 9">
            <a:extLst>
              <a:ext uri="{FF2B5EF4-FFF2-40B4-BE49-F238E27FC236}">
                <a16:creationId xmlns:a16="http://schemas.microsoft.com/office/drawing/2014/main" id="{34C3B78F-20A7-4487-8726-C84F75DB2E08}"/>
              </a:ext>
            </a:extLst>
          </p:cNvPr>
          <p:cNvSpPr>
            <a:spLocks/>
          </p:cNvSpPr>
          <p:nvPr userDrawn="1"/>
        </p:nvSpPr>
        <p:spPr bwMode="auto">
          <a:xfrm>
            <a:off x="16776267" y="8133786"/>
            <a:ext cx="373837" cy="402994"/>
          </a:xfrm>
          <a:custGeom>
            <a:avLst/>
            <a:gdLst>
              <a:gd name="T0" fmla="*/ 8 w 74"/>
              <a:gd name="T1" fmla="*/ 20 h 80"/>
              <a:gd name="T2" fmla="*/ 66 w 74"/>
              <a:gd name="T3" fmla="*/ 20 h 80"/>
              <a:gd name="T4" fmla="*/ 66 w 74"/>
              <a:gd name="T5" fmla="*/ 59 h 80"/>
              <a:gd name="T6" fmla="*/ 8 w 74"/>
              <a:gd name="T7" fmla="*/ 59 h 80"/>
              <a:gd name="T8" fmla="*/ 8 w 74"/>
              <a:gd name="T9" fmla="*/ 2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4" h="80">
                <a:moveTo>
                  <a:pt x="8" y="20"/>
                </a:moveTo>
                <a:cubicBezTo>
                  <a:pt x="22" y="0"/>
                  <a:pt x="52" y="0"/>
                  <a:pt x="66" y="20"/>
                </a:cubicBezTo>
                <a:cubicBezTo>
                  <a:pt x="74" y="32"/>
                  <a:pt x="74" y="47"/>
                  <a:pt x="66" y="59"/>
                </a:cubicBezTo>
                <a:cubicBezTo>
                  <a:pt x="52" y="80"/>
                  <a:pt x="22" y="80"/>
                  <a:pt x="8" y="59"/>
                </a:cubicBezTo>
                <a:cubicBezTo>
                  <a:pt x="0" y="47"/>
                  <a:pt x="0" y="32"/>
                  <a:pt x="8" y="2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28723D-18D6-4616-91E7-04E0E992894A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 bwMode="white">
          <a:xfrm>
            <a:off x="725110" y="1443129"/>
            <a:ext cx="12769245" cy="1183511"/>
          </a:xfrm>
        </p:spPr>
        <p:txBody>
          <a:bodyPr>
            <a:normAutofit/>
          </a:bodyPr>
          <a:lstStyle>
            <a:lvl1pPr algn="l">
              <a:defRPr sz="7915" b="0">
                <a:solidFill>
                  <a:schemeClr val="bg1"/>
                </a:solidFill>
              </a:defRPr>
            </a:lvl1pPr>
            <a:lvl2pPr algn="l">
              <a:defRPr sz="5936">
                <a:solidFill>
                  <a:schemeClr val="bg1"/>
                </a:solidFill>
              </a:defRPr>
            </a:lvl2pPr>
            <a:lvl3pPr algn="l">
              <a:defRPr sz="3958" b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WiFi</a:t>
            </a:r>
            <a:r>
              <a:rPr lang="en-US" dirty="0"/>
              <a:t> Access&gt;&gt;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25110" y="2745386"/>
            <a:ext cx="11523597" cy="1070722"/>
          </a:xfrm>
        </p:spPr>
        <p:txBody>
          <a:bodyPr>
            <a:normAutofit/>
          </a:bodyPr>
          <a:lstStyle>
            <a:lvl1pPr>
              <a:defRPr sz="593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Network</a:t>
            </a:r>
            <a:r>
              <a:rPr lang="en-US" dirty="0"/>
              <a:t>: </a:t>
            </a:r>
            <a:r>
              <a:rPr lang="en-US" dirty="0" err="1"/>
              <a:t>xxxxxxxx</a:t>
            </a:r>
            <a:r>
              <a:rPr lang="en-US" dirty="0"/>
              <a:t>&gt;&gt;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725111" y="3753668"/>
            <a:ext cx="11701214" cy="1188529"/>
          </a:xfrm>
        </p:spPr>
        <p:txBody>
          <a:bodyPr>
            <a:normAutofit/>
          </a:bodyPr>
          <a:lstStyle>
            <a:lvl1pPr>
              <a:defRPr sz="5936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Password</a:t>
            </a:r>
            <a:r>
              <a:rPr lang="en-US" dirty="0"/>
              <a:t>: </a:t>
            </a:r>
            <a:r>
              <a:rPr lang="en-US" dirty="0" err="1"/>
              <a:t>xxxxxxxx</a:t>
            </a:r>
            <a:r>
              <a:rPr lang="en-US" dirty="0"/>
              <a:t>&gt;&gt;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4127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witch off phones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31">
            <a:extLst>
              <a:ext uri="{FF2B5EF4-FFF2-40B4-BE49-F238E27FC236}">
                <a16:creationId xmlns:a16="http://schemas.microsoft.com/office/drawing/2014/main" id="{F95DEC9C-58F3-4C95-A7E6-0DE5EB0367B9}"/>
              </a:ext>
            </a:extLst>
          </p:cNvPr>
          <p:cNvSpPr>
            <a:spLocks noChangeShapeType="1"/>
          </p:cNvSpPr>
          <p:nvPr userDrawn="1"/>
        </p:nvSpPr>
        <p:spPr bwMode="white">
          <a:xfrm>
            <a:off x="724702" y="712400"/>
            <a:ext cx="18654700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968"/>
          </a:p>
        </p:txBody>
      </p:sp>
      <p:sp>
        <p:nvSpPr>
          <p:cNvPr id="8" name="Line 31">
            <a:extLst>
              <a:ext uri="{FF2B5EF4-FFF2-40B4-BE49-F238E27FC236}">
                <a16:creationId xmlns:a16="http://schemas.microsoft.com/office/drawing/2014/main" id="{153B1FF1-414A-4719-96AA-A7A333EAA173}"/>
              </a:ext>
            </a:extLst>
          </p:cNvPr>
          <p:cNvSpPr>
            <a:spLocks noChangeShapeType="1"/>
          </p:cNvSpPr>
          <p:nvPr userDrawn="1"/>
        </p:nvSpPr>
        <p:spPr bwMode="white">
          <a:xfrm>
            <a:off x="724702" y="10596950"/>
            <a:ext cx="18654700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968"/>
          </a:p>
        </p:txBody>
      </p:sp>
      <p:sp>
        <p:nvSpPr>
          <p:cNvPr id="60" name="Freeform 5">
            <a:extLst>
              <a:ext uri="{FF2B5EF4-FFF2-40B4-BE49-F238E27FC236}">
                <a16:creationId xmlns:a16="http://schemas.microsoft.com/office/drawing/2014/main" id="{5540FFF5-A9BF-4374-ADBF-5DDDAE1E0A98}"/>
              </a:ext>
            </a:extLst>
          </p:cNvPr>
          <p:cNvSpPr>
            <a:spLocks/>
          </p:cNvSpPr>
          <p:nvPr userDrawn="1"/>
        </p:nvSpPr>
        <p:spPr bwMode="auto">
          <a:xfrm>
            <a:off x="15042080" y="6342175"/>
            <a:ext cx="2865276" cy="4002004"/>
          </a:xfrm>
          <a:custGeom>
            <a:avLst/>
            <a:gdLst>
              <a:gd name="T0" fmla="*/ 11 w 542"/>
              <a:gd name="T1" fmla="*/ 757 h 757"/>
              <a:gd name="T2" fmla="*/ 0 w 542"/>
              <a:gd name="T3" fmla="*/ 745 h 757"/>
              <a:gd name="T4" fmla="*/ 0 w 542"/>
              <a:gd name="T5" fmla="*/ 11 h 757"/>
              <a:gd name="T6" fmla="*/ 11 w 542"/>
              <a:gd name="T7" fmla="*/ 0 h 757"/>
              <a:gd name="T8" fmla="*/ 531 w 542"/>
              <a:gd name="T9" fmla="*/ 0 h 757"/>
              <a:gd name="T10" fmla="*/ 542 w 542"/>
              <a:gd name="T11" fmla="*/ 11 h 757"/>
              <a:gd name="T12" fmla="*/ 542 w 542"/>
              <a:gd name="T13" fmla="*/ 745 h 757"/>
              <a:gd name="T14" fmla="*/ 531 w 542"/>
              <a:gd name="T15" fmla="*/ 757 h 757"/>
              <a:gd name="T16" fmla="*/ 11 w 542"/>
              <a:gd name="T17" fmla="*/ 757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42" h="757">
                <a:moveTo>
                  <a:pt x="11" y="757"/>
                </a:moveTo>
                <a:cubicBezTo>
                  <a:pt x="5" y="757"/>
                  <a:pt x="0" y="751"/>
                  <a:pt x="0" y="745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5"/>
                  <a:pt x="5" y="0"/>
                  <a:pt x="11" y="0"/>
                </a:cubicBezTo>
                <a:cubicBezTo>
                  <a:pt x="531" y="0"/>
                  <a:pt x="531" y="0"/>
                  <a:pt x="531" y="0"/>
                </a:cubicBezTo>
                <a:cubicBezTo>
                  <a:pt x="537" y="0"/>
                  <a:pt x="542" y="5"/>
                  <a:pt x="542" y="11"/>
                </a:cubicBezTo>
                <a:cubicBezTo>
                  <a:pt x="542" y="745"/>
                  <a:pt x="542" y="745"/>
                  <a:pt x="542" y="745"/>
                </a:cubicBezTo>
                <a:cubicBezTo>
                  <a:pt x="542" y="751"/>
                  <a:pt x="537" y="757"/>
                  <a:pt x="531" y="757"/>
                </a:cubicBezTo>
                <a:lnTo>
                  <a:pt x="11" y="757"/>
                </a:lnTo>
                <a:close/>
              </a:path>
            </a:pathLst>
          </a:custGeom>
          <a:solidFill>
            <a:srgbClr val="B2B2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0323222A-AE7C-49E0-A983-03D71DB5A74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110725" y="6807466"/>
            <a:ext cx="2735614" cy="3066339"/>
          </a:xfrm>
          <a:prstGeom prst="rect">
            <a:avLst/>
          </a:pr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9C71E136-8352-41BC-864C-756E43354BF5}"/>
              </a:ext>
            </a:extLst>
          </p:cNvPr>
          <p:cNvGrpSpPr/>
          <p:nvPr userDrawn="1"/>
        </p:nvGrpSpPr>
        <p:grpSpPr>
          <a:xfrm>
            <a:off x="16299290" y="7879157"/>
            <a:ext cx="818652" cy="818709"/>
            <a:chOff x="6020593" y="2009728"/>
            <a:chExt cx="511176" cy="511176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8DF0E26B-957F-4AF0-9557-166D3B4A590C}"/>
                </a:ext>
              </a:extLst>
            </p:cNvPr>
            <p:cNvGrpSpPr/>
            <p:nvPr/>
          </p:nvGrpSpPr>
          <p:grpSpPr>
            <a:xfrm>
              <a:off x="6275388" y="2021635"/>
              <a:ext cx="241300" cy="487363"/>
              <a:chOff x="6275388" y="2021634"/>
              <a:chExt cx="241300" cy="487363"/>
            </a:xfrm>
          </p:grpSpPr>
          <p:sp>
            <p:nvSpPr>
              <p:cNvPr id="65" name="Freeform 25">
                <a:extLst>
                  <a:ext uri="{FF2B5EF4-FFF2-40B4-BE49-F238E27FC236}">
                    <a16:creationId xmlns:a16="http://schemas.microsoft.com/office/drawing/2014/main" id="{120FBD1B-80B2-4749-9BB4-0A95CFBBD4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5388" y="2021634"/>
                <a:ext cx="241300" cy="487363"/>
              </a:xfrm>
              <a:custGeom>
                <a:avLst/>
                <a:gdLst>
                  <a:gd name="T0" fmla="*/ 0 w 73"/>
                  <a:gd name="T1" fmla="*/ 148 h 148"/>
                  <a:gd name="T2" fmla="*/ 0 w 73"/>
                  <a:gd name="T3" fmla="*/ 137 h 148"/>
                  <a:gd name="T4" fmla="*/ 63 w 73"/>
                  <a:gd name="T5" fmla="*/ 74 h 148"/>
                  <a:gd name="T6" fmla="*/ 0 w 73"/>
                  <a:gd name="T7" fmla="*/ 10 h 148"/>
                  <a:gd name="T8" fmla="*/ 0 w 73"/>
                  <a:gd name="T9" fmla="*/ 0 h 148"/>
                  <a:gd name="T10" fmla="*/ 73 w 73"/>
                  <a:gd name="T11" fmla="*/ 74 h 148"/>
                  <a:gd name="T12" fmla="*/ 0 w 73"/>
                  <a:gd name="T1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48">
                    <a:moveTo>
                      <a:pt x="0" y="148"/>
                    </a:moveTo>
                    <a:cubicBezTo>
                      <a:pt x="0" y="137"/>
                      <a:pt x="0" y="137"/>
                      <a:pt x="0" y="137"/>
                    </a:cubicBezTo>
                    <a:cubicBezTo>
                      <a:pt x="35" y="137"/>
                      <a:pt x="63" y="109"/>
                      <a:pt x="63" y="74"/>
                    </a:cubicBezTo>
                    <a:cubicBezTo>
                      <a:pt x="63" y="39"/>
                      <a:pt x="35" y="10"/>
                      <a:pt x="0" y="1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0" y="0"/>
                      <a:pt x="73" y="33"/>
                      <a:pt x="73" y="74"/>
                    </a:cubicBezTo>
                    <a:cubicBezTo>
                      <a:pt x="73" y="114"/>
                      <a:pt x="40" y="148"/>
                      <a:pt x="0" y="148"/>
                    </a:cubicBezTo>
                    <a:close/>
                  </a:path>
                </a:pathLst>
              </a:custGeom>
              <a:solidFill>
                <a:srgbClr val="344A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809" tIns="44404" rIns="88809" bIns="44404" numCol="1" anchor="t" anchorCtr="0" compatLnSpc="1">
                <a:prstTxWarp prst="textNoShape">
                  <a:avLst/>
                </a:prstTxWarp>
              </a:bodyPr>
              <a:lstStyle/>
              <a:p>
                <a:pPr defTabSz="1464419"/>
                <a:endParaRPr lang="en-GB" sz="2882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6" name="Freeform 26">
                <a:extLst>
                  <a:ext uri="{FF2B5EF4-FFF2-40B4-BE49-F238E27FC236}">
                    <a16:creationId xmlns:a16="http://schemas.microsoft.com/office/drawing/2014/main" id="{1FDD5615-5AF8-4009-A84D-8849FC3D4E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5388" y="2172447"/>
                <a:ext cx="92075" cy="182563"/>
              </a:xfrm>
              <a:custGeom>
                <a:avLst/>
                <a:gdLst>
                  <a:gd name="T0" fmla="*/ 0 w 28"/>
                  <a:gd name="T1" fmla="*/ 55 h 55"/>
                  <a:gd name="T2" fmla="*/ 0 w 28"/>
                  <a:gd name="T3" fmla="*/ 45 h 55"/>
                  <a:gd name="T4" fmla="*/ 18 w 28"/>
                  <a:gd name="T5" fmla="*/ 28 h 55"/>
                  <a:gd name="T6" fmla="*/ 0 w 28"/>
                  <a:gd name="T7" fmla="*/ 10 h 55"/>
                  <a:gd name="T8" fmla="*/ 0 w 28"/>
                  <a:gd name="T9" fmla="*/ 0 h 55"/>
                  <a:gd name="T10" fmla="*/ 28 w 28"/>
                  <a:gd name="T11" fmla="*/ 28 h 55"/>
                  <a:gd name="T12" fmla="*/ 0 w 28"/>
                  <a:gd name="T13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55">
                    <a:moveTo>
                      <a:pt x="0" y="55"/>
                    </a:moveTo>
                    <a:cubicBezTo>
                      <a:pt x="0" y="45"/>
                      <a:pt x="0" y="45"/>
                      <a:pt x="0" y="45"/>
                    </a:cubicBezTo>
                    <a:cubicBezTo>
                      <a:pt x="10" y="45"/>
                      <a:pt x="18" y="37"/>
                      <a:pt x="18" y="28"/>
                    </a:cubicBezTo>
                    <a:cubicBezTo>
                      <a:pt x="18" y="18"/>
                      <a:pt x="10" y="10"/>
                      <a:pt x="0" y="1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0"/>
                      <a:pt x="28" y="12"/>
                      <a:pt x="28" y="28"/>
                    </a:cubicBezTo>
                    <a:cubicBezTo>
                      <a:pt x="28" y="43"/>
                      <a:pt x="15" y="55"/>
                      <a:pt x="0" y="55"/>
                    </a:cubicBezTo>
                    <a:close/>
                  </a:path>
                </a:pathLst>
              </a:custGeom>
              <a:solidFill>
                <a:srgbClr val="9096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809" tIns="44404" rIns="88809" bIns="44404" numCol="1" anchor="t" anchorCtr="0" compatLnSpc="1">
                <a:prstTxWarp prst="textNoShape">
                  <a:avLst/>
                </a:prstTxWarp>
              </a:bodyPr>
              <a:lstStyle/>
              <a:p>
                <a:pPr defTabSz="1464419"/>
                <a:endParaRPr lang="en-GB" sz="2882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7" name="Freeform 27">
                <a:extLst>
                  <a:ext uri="{FF2B5EF4-FFF2-40B4-BE49-F238E27FC236}">
                    <a16:creationId xmlns:a16="http://schemas.microsoft.com/office/drawing/2014/main" id="{04F582C9-7778-416C-ACB1-7EDF133DF0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8563" y="2096247"/>
                <a:ext cx="165100" cy="333375"/>
              </a:xfrm>
              <a:custGeom>
                <a:avLst/>
                <a:gdLst>
                  <a:gd name="T0" fmla="*/ 0 w 50"/>
                  <a:gd name="T1" fmla="*/ 101 h 101"/>
                  <a:gd name="T2" fmla="*/ 0 w 50"/>
                  <a:gd name="T3" fmla="*/ 91 h 101"/>
                  <a:gd name="T4" fmla="*/ 40 w 50"/>
                  <a:gd name="T5" fmla="*/ 51 h 101"/>
                  <a:gd name="T6" fmla="*/ 0 w 50"/>
                  <a:gd name="T7" fmla="*/ 10 h 101"/>
                  <a:gd name="T8" fmla="*/ 0 w 50"/>
                  <a:gd name="T9" fmla="*/ 0 h 101"/>
                  <a:gd name="T10" fmla="*/ 50 w 50"/>
                  <a:gd name="T11" fmla="*/ 51 h 101"/>
                  <a:gd name="T12" fmla="*/ 0 w 50"/>
                  <a:gd name="T13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101">
                    <a:moveTo>
                      <a:pt x="0" y="101"/>
                    </a:moveTo>
                    <a:cubicBezTo>
                      <a:pt x="0" y="91"/>
                      <a:pt x="0" y="91"/>
                      <a:pt x="0" y="91"/>
                    </a:cubicBezTo>
                    <a:cubicBezTo>
                      <a:pt x="22" y="91"/>
                      <a:pt x="40" y="73"/>
                      <a:pt x="40" y="51"/>
                    </a:cubicBezTo>
                    <a:cubicBezTo>
                      <a:pt x="40" y="28"/>
                      <a:pt x="22" y="10"/>
                      <a:pt x="0" y="1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8" y="0"/>
                      <a:pt x="50" y="23"/>
                      <a:pt x="50" y="51"/>
                    </a:cubicBezTo>
                    <a:cubicBezTo>
                      <a:pt x="50" y="78"/>
                      <a:pt x="28" y="101"/>
                      <a:pt x="0" y="101"/>
                    </a:cubicBezTo>
                    <a:close/>
                  </a:path>
                </a:pathLst>
              </a:custGeom>
              <a:solidFill>
                <a:srgbClr val="606C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809" tIns="44404" rIns="88809" bIns="44404" numCol="1" anchor="t" anchorCtr="0" compatLnSpc="1">
                <a:prstTxWarp prst="textNoShape">
                  <a:avLst/>
                </a:prstTxWarp>
              </a:bodyPr>
              <a:lstStyle/>
              <a:p>
                <a:pPr defTabSz="1464419"/>
                <a:endParaRPr lang="en-GB" sz="2882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64E38435-1FA7-42E9-BA1A-668E9C9CB149}"/>
                </a:ext>
              </a:extLst>
            </p:cNvPr>
            <p:cNvSpPr/>
            <p:nvPr/>
          </p:nvSpPr>
          <p:spPr>
            <a:xfrm>
              <a:off x="6020593" y="2009728"/>
              <a:ext cx="511176" cy="511176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4419"/>
              <a:endParaRPr lang="en-GB" sz="2882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68" name="Oval 6">
            <a:extLst>
              <a:ext uri="{FF2B5EF4-FFF2-40B4-BE49-F238E27FC236}">
                <a16:creationId xmlns:a16="http://schemas.microsoft.com/office/drawing/2014/main" id="{7BF7BAFA-B1F9-4306-97AE-F5E0AE4C339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6379378" y="10006017"/>
            <a:ext cx="200850" cy="200864"/>
          </a:xfrm>
          <a:prstGeom prst="ellipse">
            <a:avLst/>
          </a:pr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9" name="Line 8">
            <a:extLst>
              <a:ext uri="{FF2B5EF4-FFF2-40B4-BE49-F238E27FC236}">
                <a16:creationId xmlns:a16="http://schemas.microsoft.com/office/drawing/2014/main" id="{BCB61CFE-1684-4DE5-BEA3-B916117B70C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6325989" y="6576090"/>
            <a:ext cx="297461" cy="0"/>
          </a:xfrm>
          <a:prstGeom prst="line">
            <a:avLst/>
          </a:prstGeom>
          <a:noFill/>
          <a:ln w="52388" cap="rnd">
            <a:solidFill>
              <a:srgbClr val="04314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0" name="Rectangle 9">
            <a:extLst>
              <a:ext uri="{FF2B5EF4-FFF2-40B4-BE49-F238E27FC236}">
                <a16:creationId xmlns:a16="http://schemas.microsoft.com/office/drawing/2014/main" id="{1543DEAE-A31F-4F9F-B2D0-871957E5AC1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744643" y="7834663"/>
            <a:ext cx="1487299" cy="2611220"/>
          </a:xfrm>
          <a:prstGeom prst="rect">
            <a:avLst/>
          </a:prstGeom>
          <a:solidFill>
            <a:srgbClr val="C2C2C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1" name="Freeform 10">
            <a:extLst>
              <a:ext uri="{FF2B5EF4-FFF2-40B4-BE49-F238E27FC236}">
                <a16:creationId xmlns:a16="http://schemas.microsoft.com/office/drawing/2014/main" id="{3D65FE75-32CB-4783-A7BE-1D60BA60C08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97184" y="7684650"/>
            <a:ext cx="1782217" cy="2908700"/>
          </a:xfrm>
          <a:custGeom>
            <a:avLst/>
            <a:gdLst>
              <a:gd name="T0" fmla="*/ 309 w 337"/>
              <a:gd name="T1" fmla="*/ 550 h 550"/>
              <a:gd name="T2" fmla="*/ 28 w 337"/>
              <a:gd name="T3" fmla="*/ 550 h 550"/>
              <a:gd name="T4" fmla="*/ 0 w 337"/>
              <a:gd name="T5" fmla="*/ 522 h 550"/>
              <a:gd name="T6" fmla="*/ 0 w 337"/>
              <a:gd name="T7" fmla="*/ 28 h 550"/>
              <a:gd name="T8" fmla="*/ 28 w 337"/>
              <a:gd name="T9" fmla="*/ 0 h 550"/>
              <a:gd name="T10" fmla="*/ 309 w 337"/>
              <a:gd name="T11" fmla="*/ 0 h 550"/>
              <a:gd name="T12" fmla="*/ 337 w 337"/>
              <a:gd name="T13" fmla="*/ 28 h 550"/>
              <a:gd name="T14" fmla="*/ 337 w 337"/>
              <a:gd name="T15" fmla="*/ 522 h 550"/>
              <a:gd name="T16" fmla="*/ 309 w 337"/>
              <a:gd name="T17" fmla="*/ 550 h 550"/>
              <a:gd name="T18" fmla="*/ 56 w 337"/>
              <a:gd name="T19" fmla="*/ 494 h 550"/>
              <a:gd name="T20" fmla="*/ 281 w 337"/>
              <a:gd name="T21" fmla="*/ 494 h 550"/>
              <a:gd name="T22" fmla="*/ 281 w 337"/>
              <a:gd name="T23" fmla="*/ 56 h 550"/>
              <a:gd name="T24" fmla="*/ 56 w 337"/>
              <a:gd name="T25" fmla="*/ 56 h 550"/>
              <a:gd name="T26" fmla="*/ 56 w 337"/>
              <a:gd name="T27" fmla="*/ 494 h 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37" h="550">
                <a:moveTo>
                  <a:pt x="309" y="550"/>
                </a:moveTo>
                <a:cubicBezTo>
                  <a:pt x="28" y="550"/>
                  <a:pt x="28" y="550"/>
                  <a:pt x="28" y="550"/>
                </a:cubicBezTo>
                <a:cubicBezTo>
                  <a:pt x="12" y="550"/>
                  <a:pt x="0" y="538"/>
                  <a:pt x="0" y="522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13"/>
                  <a:pt x="12" y="0"/>
                  <a:pt x="28" y="0"/>
                </a:cubicBezTo>
                <a:cubicBezTo>
                  <a:pt x="309" y="0"/>
                  <a:pt x="309" y="0"/>
                  <a:pt x="309" y="0"/>
                </a:cubicBezTo>
                <a:cubicBezTo>
                  <a:pt x="325" y="0"/>
                  <a:pt x="337" y="13"/>
                  <a:pt x="337" y="28"/>
                </a:cubicBezTo>
                <a:cubicBezTo>
                  <a:pt x="337" y="522"/>
                  <a:pt x="337" y="522"/>
                  <a:pt x="337" y="522"/>
                </a:cubicBezTo>
                <a:cubicBezTo>
                  <a:pt x="337" y="538"/>
                  <a:pt x="325" y="550"/>
                  <a:pt x="309" y="550"/>
                </a:cubicBezTo>
                <a:close/>
                <a:moveTo>
                  <a:pt x="56" y="494"/>
                </a:moveTo>
                <a:cubicBezTo>
                  <a:pt x="281" y="494"/>
                  <a:pt x="281" y="494"/>
                  <a:pt x="281" y="494"/>
                </a:cubicBezTo>
                <a:cubicBezTo>
                  <a:pt x="281" y="56"/>
                  <a:pt x="281" y="56"/>
                  <a:pt x="281" y="56"/>
                </a:cubicBezTo>
                <a:cubicBezTo>
                  <a:pt x="56" y="56"/>
                  <a:pt x="56" y="56"/>
                  <a:pt x="56" y="56"/>
                </a:cubicBezTo>
                <a:lnTo>
                  <a:pt x="56" y="494"/>
                </a:lnTo>
                <a:close/>
              </a:path>
            </a:pathLst>
          </a:custGeom>
          <a:solidFill>
            <a:srgbClr val="C2C2C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2" name="Rectangle 11">
            <a:extLst>
              <a:ext uri="{FF2B5EF4-FFF2-40B4-BE49-F238E27FC236}">
                <a16:creationId xmlns:a16="http://schemas.microsoft.com/office/drawing/2014/main" id="{CFEA9807-A205-4D89-BBAE-DDB1EA0D7F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7744644" y="7982133"/>
            <a:ext cx="1492385" cy="2003544"/>
          </a:xfrm>
          <a:prstGeom prst="rect">
            <a:avLst/>
          </a:pr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3" name="Oval 12">
            <a:extLst>
              <a:ext uri="{FF2B5EF4-FFF2-40B4-BE49-F238E27FC236}">
                <a16:creationId xmlns:a16="http://schemas.microsoft.com/office/drawing/2014/main" id="{CFCB15EB-BBAD-4C7B-A98C-5501CCC4018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8362442" y="10176371"/>
            <a:ext cx="244069" cy="241545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4" name="Freeform 13">
            <a:extLst>
              <a:ext uri="{FF2B5EF4-FFF2-40B4-BE49-F238E27FC236}">
                <a16:creationId xmlns:a16="http://schemas.microsoft.com/office/drawing/2014/main" id="{D30D0249-96D2-4A73-A8E2-7CC265B039E9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8426004" y="10234850"/>
            <a:ext cx="122034" cy="127129"/>
          </a:xfrm>
          <a:custGeom>
            <a:avLst/>
            <a:gdLst>
              <a:gd name="T0" fmla="*/ 36 w 48"/>
              <a:gd name="T1" fmla="*/ 12 h 50"/>
              <a:gd name="T2" fmla="*/ 36 w 48"/>
              <a:gd name="T3" fmla="*/ 37 h 50"/>
              <a:gd name="T4" fmla="*/ 13 w 48"/>
              <a:gd name="T5" fmla="*/ 37 h 50"/>
              <a:gd name="T6" fmla="*/ 13 w 48"/>
              <a:gd name="T7" fmla="*/ 12 h 50"/>
              <a:gd name="T8" fmla="*/ 36 w 48"/>
              <a:gd name="T9" fmla="*/ 12 h 50"/>
              <a:gd name="T10" fmla="*/ 48 w 48"/>
              <a:gd name="T11" fmla="*/ 0 h 50"/>
              <a:gd name="T12" fmla="*/ 0 w 48"/>
              <a:gd name="T13" fmla="*/ 0 h 50"/>
              <a:gd name="T14" fmla="*/ 0 w 48"/>
              <a:gd name="T15" fmla="*/ 50 h 50"/>
              <a:gd name="T16" fmla="*/ 48 w 48"/>
              <a:gd name="T17" fmla="*/ 50 h 50"/>
              <a:gd name="T18" fmla="*/ 48 w 48"/>
              <a:gd name="T19" fmla="*/ 0 h 50"/>
              <a:gd name="T20" fmla="*/ 48 w 48"/>
              <a:gd name="T21" fmla="*/ 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8" h="50">
                <a:moveTo>
                  <a:pt x="36" y="12"/>
                </a:moveTo>
                <a:lnTo>
                  <a:pt x="36" y="37"/>
                </a:lnTo>
                <a:lnTo>
                  <a:pt x="13" y="37"/>
                </a:lnTo>
                <a:lnTo>
                  <a:pt x="13" y="12"/>
                </a:lnTo>
                <a:lnTo>
                  <a:pt x="36" y="12"/>
                </a:lnTo>
                <a:close/>
                <a:moveTo>
                  <a:pt x="48" y="0"/>
                </a:moveTo>
                <a:lnTo>
                  <a:pt x="0" y="0"/>
                </a:lnTo>
                <a:lnTo>
                  <a:pt x="0" y="50"/>
                </a:lnTo>
                <a:lnTo>
                  <a:pt x="48" y="50"/>
                </a:lnTo>
                <a:lnTo>
                  <a:pt x="48" y="0"/>
                </a:lnTo>
                <a:lnTo>
                  <a:pt x="48" y="0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5" name="Freeform 14">
            <a:extLst>
              <a:ext uri="{FF2B5EF4-FFF2-40B4-BE49-F238E27FC236}">
                <a16:creationId xmlns:a16="http://schemas.microsoft.com/office/drawing/2014/main" id="{AD104258-8887-4C86-AB37-EF41EA299FD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8426004" y="10234850"/>
            <a:ext cx="122034" cy="127129"/>
          </a:xfrm>
          <a:custGeom>
            <a:avLst/>
            <a:gdLst>
              <a:gd name="T0" fmla="*/ 36 w 48"/>
              <a:gd name="T1" fmla="*/ 12 h 50"/>
              <a:gd name="T2" fmla="*/ 36 w 48"/>
              <a:gd name="T3" fmla="*/ 37 h 50"/>
              <a:gd name="T4" fmla="*/ 13 w 48"/>
              <a:gd name="T5" fmla="*/ 37 h 50"/>
              <a:gd name="T6" fmla="*/ 13 w 48"/>
              <a:gd name="T7" fmla="*/ 12 h 50"/>
              <a:gd name="T8" fmla="*/ 36 w 48"/>
              <a:gd name="T9" fmla="*/ 12 h 50"/>
              <a:gd name="T10" fmla="*/ 48 w 48"/>
              <a:gd name="T11" fmla="*/ 0 h 50"/>
              <a:gd name="T12" fmla="*/ 0 w 48"/>
              <a:gd name="T13" fmla="*/ 0 h 50"/>
              <a:gd name="T14" fmla="*/ 0 w 48"/>
              <a:gd name="T15" fmla="*/ 50 h 50"/>
              <a:gd name="T16" fmla="*/ 48 w 48"/>
              <a:gd name="T17" fmla="*/ 50 h 50"/>
              <a:gd name="T18" fmla="*/ 48 w 48"/>
              <a:gd name="T19" fmla="*/ 0 h 50"/>
              <a:gd name="T20" fmla="*/ 48 w 48"/>
              <a:gd name="T21" fmla="*/ 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8" h="50">
                <a:moveTo>
                  <a:pt x="36" y="12"/>
                </a:moveTo>
                <a:lnTo>
                  <a:pt x="36" y="37"/>
                </a:lnTo>
                <a:lnTo>
                  <a:pt x="13" y="37"/>
                </a:lnTo>
                <a:lnTo>
                  <a:pt x="13" y="12"/>
                </a:lnTo>
                <a:lnTo>
                  <a:pt x="36" y="12"/>
                </a:lnTo>
                <a:moveTo>
                  <a:pt x="48" y="0"/>
                </a:moveTo>
                <a:lnTo>
                  <a:pt x="0" y="0"/>
                </a:lnTo>
                <a:lnTo>
                  <a:pt x="0" y="50"/>
                </a:lnTo>
                <a:lnTo>
                  <a:pt x="48" y="50"/>
                </a:lnTo>
                <a:lnTo>
                  <a:pt x="48" y="0"/>
                </a:lnTo>
                <a:lnTo>
                  <a:pt x="48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6" name="Line 15">
            <a:extLst>
              <a:ext uri="{FF2B5EF4-FFF2-40B4-BE49-F238E27FC236}">
                <a16:creationId xmlns:a16="http://schemas.microsoft.com/office/drawing/2014/main" id="{B670C82F-6329-4BED-B864-EA2DA74A76BB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8405665" y="7834664"/>
            <a:ext cx="180510" cy="0"/>
          </a:xfrm>
          <a:prstGeom prst="line">
            <a:avLst/>
          </a:prstGeom>
          <a:noFill/>
          <a:ln w="52388" cap="rnd">
            <a:solidFill>
              <a:srgbClr val="04314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7" name="Freeform 16">
            <a:extLst>
              <a:ext uri="{FF2B5EF4-FFF2-40B4-BE49-F238E27FC236}">
                <a16:creationId xmlns:a16="http://schemas.microsoft.com/office/drawing/2014/main" id="{E26EB816-E9BC-4B72-A488-C9B54DAAFA35}"/>
              </a:ext>
            </a:extLst>
          </p:cNvPr>
          <p:cNvSpPr>
            <a:spLocks/>
          </p:cNvSpPr>
          <p:nvPr userDrawn="1"/>
        </p:nvSpPr>
        <p:spPr bwMode="auto">
          <a:xfrm>
            <a:off x="14538686" y="8246560"/>
            <a:ext cx="162713" cy="78821"/>
          </a:xfrm>
          <a:custGeom>
            <a:avLst/>
            <a:gdLst>
              <a:gd name="T0" fmla="*/ 23 w 31"/>
              <a:gd name="T1" fmla="*/ 15 h 15"/>
              <a:gd name="T2" fmla="*/ 8 w 31"/>
              <a:gd name="T3" fmla="*/ 15 h 15"/>
              <a:gd name="T4" fmla="*/ 0 w 31"/>
              <a:gd name="T5" fmla="*/ 8 h 15"/>
              <a:gd name="T6" fmla="*/ 8 w 31"/>
              <a:gd name="T7" fmla="*/ 0 h 15"/>
              <a:gd name="T8" fmla="*/ 23 w 31"/>
              <a:gd name="T9" fmla="*/ 0 h 15"/>
              <a:gd name="T10" fmla="*/ 31 w 31"/>
              <a:gd name="T11" fmla="*/ 8 h 15"/>
              <a:gd name="T12" fmla="*/ 23 w 31"/>
              <a:gd name="T13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" h="15">
                <a:moveTo>
                  <a:pt x="23" y="15"/>
                </a:moveTo>
                <a:cubicBezTo>
                  <a:pt x="8" y="15"/>
                  <a:pt x="8" y="15"/>
                  <a:pt x="8" y="15"/>
                </a:cubicBezTo>
                <a:cubicBezTo>
                  <a:pt x="4" y="15"/>
                  <a:pt x="0" y="12"/>
                  <a:pt x="0" y="8"/>
                </a:cubicBezTo>
                <a:cubicBezTo>
                  <a:pt x="0" y="4"/>
                  <a:pt x="4" y="0"/>
                  <a:pt x="8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7" y="0"/>
                  <a:pt x="31" y="4"/>
                  <a:pt x="31" y="8"/>
                </a:cubicBezTo>
                <a:cubicBezTo>
                  <a:pt x="31" y="12"/>
                  <a:pt x="27" y="15"/>
                  <a:pt x="23" y="15"/>
                </a:cubicBezTo>
                <a:close/>
              </a:path>
            </a:pathLst>
          </a:custGeom>
          <a:solidFill>
            <a:srgbClr val="B2B2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8" name="Freeform 17">
            <a:extLst>
              <a:ext uri="{FF2B5EF4-FFF2-40B4-BE49-F238E27FC236}">
                <a16:creationId xmlns:a16="http://schemas.microsoft.com/office/drawing/2014/main" id="{AD7D4474-F4C3-4F40-BA72-D4BA7873115E}"/>
              </a:ext>
            </a:extLst>
          </p:cNvPr>
          <p:cNvSpPr>
            <a:spLocks/>
          </p:cNvSpPr>
          <p:nvPr userDrawn="1"/>
        </p:nvSpPr>
        <p:spPr bwMode="auto">
          <a:xfrm>
            <a:off x="13887834" y="8155028"/>
            <a:ext cx="1464417" cy="2438326"/>
          </a:xfrm>
          <a:custGeom>
            <a:avLst/>
            <a:gdLst>
              <a:gd name="T0" fmla="*/ 254 w 277"/>
              <a:gd name="T1" fmla="*/ 0 h 461"/>
              <a:gd name="T2" fmla="*/ 24 w 277"/>
              <a:gd name="T3" fmla="*/ 0 h 461"/>
              <a:gd name="T4" fmla="*/ 0 w 277"/>
              <a:gd name="T5" fmla="*/ 23 h 461"/>
              <a:gd name="T6" fmla="*/ 0 w 277"/>
              <a:gd name="T7" fmla="*/ 438 h 461"/>
              <a:gd name="T8" fmla="*/ 24 w 277"/>
              <a:gd name="T9" fmla="*/ 461 h 461"/>
              <a:gd name="T10" fmla="*/ 254 w 277"/>
              <a:gd name="T11" fmla="*/ 461 h 461"/>
              <a:gd name="T12" fmla="*/ 277 w 277"/>
              <a:gd name="T13" fmla="*/ 438 h 461"/>
              <a:gd name="T14" fmla="*/ 277 w 277"/>
              <a:gd name="T15" fmla="*/ 23 h 461"/>
              <a:gd name="T16" fmla="*/ 254 w 277"/>
              <a:gd name="T17" fmla="*/ 0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77" h="461">
                <a:moveTo>
                  <a:pt x="254" y="0"/>
                </a:moveTo>
                <a:cubicBezTo>
                  <a:pt x="24" y="0"/>
                  <a:pt x="24" y="0"/>
                  <a:pt x="24" y="0"/>
                </a:cubicBezTo>
                <a:cubicBezTo>
                  <a:pt x="11" y="0"/>
                  <a:pt x="0" y="11"/>
                  <a:pt x="0" y="23"/>
                </a:cubicBezTo>
                <a:cubicBezTo>
                  <a:pt x="0" y="438"/>
                  <a:pt x="0" y="438"/>
                  <a:pt x="0" y="438"/>
                </a:cubicBezTo>
                <a:cubicBezTo>
                  <a:pt x="0" y="451"/>
                  <a:pt x="11" y="461"/>
                  <a:pt x="24" y="461"/>
                </a:cubicBezTo>
                <a:cubicBezTo>
                  <a:pt x="254" y="461"/>
                  <a:pt x="254" y="461"/>
                  <a:pt x="254" y="461"/>
                </a:cubicBezTo>
                <a:cubicBezTo>
                  <a:pt x="267" y="461"/>
                  <a:pt x="277" y="451"/>
                  <a:pt x="277" y="438"/>
                </a:cubicBezTo>
                <a:cubicBezTo>
                  <a:pt x="277" y="23"/>
                  <a:pt x="277" y="23"/>
                  <a:pt x="277" y="23"/>
                </a:cubicBezTo>
                <a:cubicBezTo>
                  <a:pt x="277" y="11"/>
                  <a:pt x="267" y="0"/>
                  <a:pt x="254" y="0"/>
                </a:cubicBezTo>
                <a:close/>
              </a:path>
            </a:pathLst>
          </a:custGeom>
          <a:solidFill>
            <a:srgbClr val="DADAD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9" name="Rectangle 18">
            <a:extLst>
              <a:ext uri="{FF2B5EF4-FFF2-40B4-BE49-F238E27FC236}">
                <a16:creationId xmlns:a16="http://schemas.microsoft.com/office/drawing/2014/main" id="{E5460164-234F-4E77-BFE4-35E7D8ABFEC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014955" y="8399114"/>
            <a:ext cx="1215263" cy="1639958"/>
          </a:xfrm>
          <a:prstGeom prst="rect">
            <a:avLst/>
          </a:prstGeom>
          <a:noFill/>
          <a:ln w="12700" cap="flat">
            <a:solidFill>
              <a:srgbClr val="B2B2B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0" name="Rectangle 19">
            <a:extLst>
              <a:ext uri="{FF2B5EF4-FFF2-40B4-BE49-F238E27FC236}">
                <a16:creationId xmlns:a16="http://schemas.microsoft.com/office/drawing/2014/main" id="{48C85673-097D-4BB7-83C1-BDCBD13462A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014954" y="8404200"/>
            <a:ext cx="1210179" cy="1634874"/>
          </a:xfrm>
          <a:prstGeom prst="rect">
            <a:avLst/>
          </a:pr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1" name="Rectangle 20">
            <a:extLst>
              <a:ext uri="{FF2B5EF4-FFF2-40B4-BE49-F238E27FC236}">
                <a16:creationId xmlns:a16="http://schemas.microsoft.com/office/drawing/2014/main" id="{C647C80C-710D-4C3F-AFFA-6DC9E55CF3B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505638" y="10234849"/>
            <a:ext cx="218645" cy="216119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2" name="Freeform 21">
            <a:extLst>
              <a:ext uri="{FF2B5EF4-FFF2-40B4-BE49-F238E27FC236}">
                <a16:creationId xmlns:a16="http://schemas.microsoft.com/office/drawing/2014/main" id="{F677933D-1DB5-47DA-80C3-EBD4BCBD7B8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4553941" y="10280616"/>
            <a:ext cx="122034" cy="122043"/>
          </a:xfrm>
          <a:custGeom>
            <a:avLst/>
            <a:gdLst>
              <a:gd name="T0" fmla="*/ 35 w 48"/>
              <a:gd name="T1" fmla="*/ 36 h 48"/>
              <a:gd name="T2" fmla="*/ 13 w 48"/>
              <a:gd name="T3" fmla="*/ 36 h 48"/>
              <a:gd name="T4" fmla="*/ 13 w 48"/>
              <a:gd name="T5" fmla="*/ 13 h 48"/>
              <a:gd name="T6" fmla="*/ 35 w 48"/>
              <a:gd name="T7" fmla="*/ 13 h 48"/>
              <a:gd name="T8" fmla="*/ 35 w 48"/>
              <a:gd name="T9" fmla="*/ 36 h 48"/>
              <a:gd name="T10" fmla="*/ 48 w 48"/>
              <a:gd name="T11" fmla="*/ 0 h 48"/>
              <a:gd name="T12" fmla="*/ 0 w 48"/>
              <a:gd name="T13" fmla="*/ 0 h 48"/>
              <a:gd name="T14" fmla="*/ 0 w 48"/>
              <a:gd name="T15" fmla="*/ 48 h 48"/>
              <a:gd name="T16" fmla="*/ 48 w 48"/>
              <a:gd name="T17" fmla="*/ 48 h 48"/>
              <a:gd name="T18" fmla="*/ 48 w 48"/>
              <a:gd name="T19" fmla="*/ 0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8" h="48">
                <a:moveTo>
                  <a:pt x="35" y="36"/>
                </a:moveTo>
                <a:lnTo>
                  <a:pt x="13" y="36"/>
                </a:lnTo>
                <a:lnTo>
                  <a:pt x="13" y="13"/>
                </a:lnTo>
                <a:lnTo>
                  <a:pt x="35" y="13"/>
                </a:lnTo>
                <a:lnTo>
                  <a:pt x="35" y="36"/>
                </a:lnTo>
                <a:close/>
                <a:moveTo>
                  <a:pt x="48" y="0"/>
                </a:moveTo>
                <a:lnTo>
                  <a:pt x="0" y="0"/>
                </a:lnTo>
                <a:lnTo>
                  <a:pt x="0" y="48"/>
                </a:lnTo>
                <a:lnTo>
                  <a:pt x="48" y="48"/>
                </a:lnTo>
                <a:lnTo>
                  <a:pt x="48" y="0"/>
                </a:lnTo>
                <a:close/>
              </a:path>
            </a:pathLst>
          </a:custGeom>
          <a:solidFill>
            <a:srgbClr val="04314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3" name="Oval 22">
            <a:extLst>
              <a:ext uri="{FF2B5EF4-FFF2-40B4-BE49-F238E27FC236}">
                <a16:creationId xmlns:a16="http://schemas.microsoft.com/office/drawing/2014/main" id="{0D0F4439-5AA9-4182-9617-0CD66B95245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251399" y="10255192"/>
            <a:ext cx="180510" cy="18052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4" name="Oval 23">
            <a:extLst>
              <a:ext uri="{FF2B5EF4-FFF2-40B4-BE49-F238E27FC236}">
                <a16:creationId xmlns:a16="http://schemas.microsoft.com/office/drawing/2014/main" id="{2C82FD41-46CF-4515-A2D1-D35E62B3A37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792928" y="10255192"/>
            <a:ext cx="180510" cy="180522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5" name="Freeform 24">
            <a:extLst>
              <a:ext uri="{FF2B5EF4-FFF2-40B4-BE49-F238E27FC236}">
                <a16:creationId xmlns:a16="http://schemas.microsoft.com/office/drawing/2014/main" id="{616F4737-179A-4824-9623-4033C0334ABC}"/>
              </a:ext>
            </a:extLst>
          </p:cNvPr>
          <p:cNvSpPr>
            <a:spLocks/>
          </p:cNvSpPr>
          <p:nvPr userDrawn="1"/>
        </p:nvSpPr>
        <p:spPr bwMode="auto">
          <a:xfrm>
            <a:off x="15957341" y="7875345"/>
            <a:ext cx="643226" cy="826336"/>
          </a:xfrm>
          <a:custGeom>
            <a:avLst/>
            <a:gdLst>
              <a:gd name="T0" fmla="*/ 172 w 253"/>
              <a:gd name="T1" fmla="*/ 244 h 325"/>
              <a:gd name="T2" fmla="*/ 0 w 253"/>
              <a:gd name="T3" fmla="*/ 244 h 325"/>
              <a:gd name="T4" fmla="*/ 0 w 253"/>
              <a:gd name="T5" fmla="*/ 77 h 325"/>
              <a:gd name="T6" fmla="*/ 172 w 253"/>
              <a:gd name="T7" fmla="*/ 77 h 325"/>
              <a:gd name="T8" fmla="*/ 253 w 253"/>
              <a:gd name="T9" fmla="*/ 0 h 325"/>
              <a:gd name="T10" fmla="*/ 253 w 253"/>
              <a:gd name="T11" fmla="*/ 325 h 325"/>
              <a:gd name="T12" fmla="*/ 172 w 253"/>
              <a:gd name="T13" fmla="*/ 244 h 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53" h="325">
                <a:moveTo>
                  <a:pt x="172" y="244"/>
                </a:moveTo>
                <a:lnTo>
                  <a:pt x="0" y="244"/>
                </a:lnTo>
                <a:lnTo>
                  <a:pt x="0" y="77"/>
                </a:lnTo>
                <a:lnTo>
                  <a:pt x="172" y="77"/>
                </a:lnTo>
                <a:lnTo>
                  <a:pt x="253" y="0"/>
                </a:lnTo>
                <a:lnTo>
                  <a:pt x="253" y="325"/>
                </a:lnTo>
                <a:lnTo>
                  <a:pt x="172" y="2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6" name="Freeform 28">
            <a:extLst>
              <a:ext uri="{FF2B5EF4-FFF2-40B4-BE49-F238E27FC236}">
                <a16:creationId xmlns:a16="http://schemas.microsoft.com/office/drawing/2014/main" id="{43FBFF0E-35D8-4136-9292-07A828C009AF}"/>
              </a:ext>
            </a:extLst>
          </p:cNvPr>
          <p:cNvSpPr>
            <a:spLocks/>
          </p:cNvSpPr>
          <p:nvPr userDrawn="1"/>
        </p:nvSpPr>
        <p:spPr bwMode="auto">
          <a:xfrm>
            <a:off x="14314957" y="9006788"/>
            <a:ext cx="361020" cy="465291"/>
          </a:xfrm>
          <a:custGeom>
            <a:avLst/>
            <a:gdLst>
              <a:gd name="T0" fmla="*/ 96 w 142"/>
              <a:gd name="T1" fmla="*/ 137 h 183"/>
              <a:gd name="T2" fmla="*/ 0 w 142"/>
              <a:gd name="T3" fmla="*/ 137 h 183"/>
              <a:gd name="T4" fmla="*/ 0 w 142"/>
              <a:gd name="T5" fmla="*/ 44 h 183"/>
              <a:gd name="T6" fmla="*/ 96 w 142"/>
              <a:gd name="T7" fmla="*/ 44 h 183"/>
              <a:gd name="T8" fmla="*/ 142 w 142"/>
              <a:gd name="T9" fmla="*/ 0 h 183"/>
              <a:gd name="T10" fmla="*/ 142 w 142"/>
              <a:gd name="T11" fmla="*/ 183 h 183"/>
              <a:gd name="T12" fmla="*/ 96 w 142"/>
              <a:gd name="T13" fmla="*/ 137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2" h="183">
                <a:moveTo>
                  <a:pt x="96" y="137"/>
                </a:moveTo>
                <a:lnTo>
                  <a:pt x="0" y="137"/>
                </a:lnTo>
                <a:lnTo>
                  <a:pt x="0" y="44"/>
                </a:lnTo>
                <a:lnTo>
                  <a:pt x="96" y="44"/>
                </a:lnTo>
                <a:lnTo>
                  <a:pt x="142" y="0"/>
                </a:lnTo>
                <a:lnTo>
                  <a:pt x="142" y="183"/>
                </a:lnTo>
                <a:lnTo>
                  <a:pt x="96" y="13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7" name="Freeform 32">
            <a:extLst>
              <a:ext uri="{FF2B5EF4-FFF2-40B4-BE49-F238E27FC236}">
                <a16:creationId xmlns:a16="http://schemas.microsoft.com/office/drawing/2014/main" id="{A7EDEF9D-19AF-41C6-9B1C-2DED38C08534}"/>
              </a:ext>
            </a:extLst>
          </p:cNvPr>
          <p:cNvSpPr>
            <a:spLocks/>
          </p:cNvSpPr>
          <p:nvPr userDrawn="1"/>
        </p:nvSpPr>
        <p:spPr bwMode="auto">
          <a:xfrm>
            <a:off x="18131085" y="8699137"/>
            <a:ext cx="450004" cy="569536"/>
          </a:xfrm>
          <a:custGeom>
            <a:avLst/>
            <a:gdLst>
              <a:gd name="T0" fmla="*/ 121 w 177"/>
              <a:gd name="T1" fmla="*/ 168 h 224"/>
              <a:gd name="T2" fmla="*/ 0 w 177"/>
              <a:gd name="T3" fmla="*/ 168 h 224"/>
              <a:gd name="T4" fmla="*/ 0 w 177"/>
              <a:gd name="T5" fmla="*/ 52 h 224"/>
              <a:gd name="T6" fmla="*/ 121 w 177"/>
              <a:gd name="T7" fmla="*/ 52 h 224"/>
              <a:gd name="T8" fmla="*/ 177 w 177"/>
              <a:gd name="T9" fmla="*/ 0 h 224"/>
              <a:gd name="T10" fmla="*/ 177 w 177"/>
              <a:gd name="T11" fmla="*/ 224 h 224"/>
              <a:gd name="T12" fmla="*/ 121 w 177"/>
              <a:gd name="T13" fmla="*/ 168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24">
                <a:moveTo>
                  <a:pt x="121" y="168"/>
                </a:moveTo>
                <a:lnTo>
                  <a:pt x="0" y="168"/>
                </a:lnTo>
                <a:lnTo>
                  <a:pt x="0" y="52"/>
                </a:lnTo>
                <a:lnTo>
                  <a:pt x="121" y="52"/>
                </a:lnTo>
                <a:lnTo>
                  <a:pt x="177" y="0"/>
                </a:lnTo>
                <a:lnTo>
                  <a:pt x="177" y="224"/>
                </a:lnTo>
                <a:lnTo>
                  <a:pt x="121" y="1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8" name="Freeform 36">
            <a:extLst>
              <a:ext uri="{FF2B5EF4-FFF2-40B4-BE49-F238E27FC236}">
                <a16:creationId xmlns:a16="http://schemas.microsoft.com/office/drawing/2014/main" id="{3C2B19F9-770D-4E02-A9D6-B360D3A46E7A}"/>
              </a:ext>
            </a:extLst>
          </p:cNvPr>
          <p:cNvSpPr>
            <a:spLocks/>
          </p:cNvSpPr>
          <p:nvPr userDrawn="1"/>
        </p:nvSpPr>
        <p:spPr bwMode="auto">
          <a:xfrm>
            <a:off x="16020901" y="7562607"/>
            <a:ext cx="1009331" cy="1444180"/>
          </a:xfrm>
          <a:custGeom>
            <a:avLst/>
            <a:gdLst>
              <a:gd name="T0" fmla="*/ 397 w 397"/>
              <a:gd name="T1" fmla="*/ 568 h 568"/>
              <a:gd name="T2" fmla="*/ 341 w 397"/>
              <a:gd name="T3" fmla="*/ 568 h 568"/>
              <a:gd name="T4" fmla="*/ 0 w 397"/>
              <a:gd name="T5" fmla="*/ 0 h 568"/>
              <a:gd name="T6" fmla="*/ 56 w 397"/>
              <a:gd name="T7" fmla="*/ 0 h 568"/>
              <a:gd name="T8" fmla="*/ 397 w 397"/>
              <a:gd name="T9" fmla="*/ 568 h 5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97" h="568">
                <a:moveTo>
                  <a:pt x="397" y="568"/>
                </a:moveTo>
                <a:lnTo>
                  <a:pt x="341" y="568"/>
                </a:lnTo>
                <a:lnTo>
                  <a:pt x="0" y="0"/>
                </a:lnTo>
                <a:lnTo>
                  <a:pt x="56" y="0"/>
                </a:lnTo>
                <a:lnTo>
                  <a:pt x="397" y="568"/>
                </a:lnTo>
                <a:close/>
              </a:path>
            </a:pathLst>
          </a:custGeom>
          <a:solidFill>
            <a:srgbClr val="B1200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11EBD090-BCB0-4BAA-BFF6-E0F39264174F}"/>
              </a:ext>
            </a:extLst>
          </p:cNvPr>
          <p:cNvGrpSpPr/>
          <p:nvPr userDrawn="1"/>
        </p:nvGrpSpPr>
        <p:grpSpPr>
          <a:xfrm>
            <a:off x="14508177" y="9016957"/>
            <a:ext cx="455089" cy="455121"/>
            <a:chOff x="6020593" y="2009728"/>
            <a:chExt cx="511176" cy="511176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D96CD900-4FD0-49D3-980B-9D69CBD328AA}"/>
                </a:ext>
              </a:extLst>
            </p:cNvPr>
            <p:cNvGrpSpPr/>
            <p:nvPr/>
          </p:nvGrpSpPr>
          <p:grpSpPr>
            <a:xfrm>
              <a:off x="6275388" y="2021635"/>
              <a:ext cx="241300" cy="487363"/>
              <a:chOff x="6275388" y="2021634"/>
              <a:chExt cx="241300" cy="487363"/>
            </a:xfrm>
          </p:grpSpPr>
          <p:sp>
            <p:nvSpPr>
              <p:cNvPr id="92" name="Freeform 25">
                <a:extLst>
                  <a:ext uri="{FF2B5EF4-FFF2-40B4-BE49-F238E27FC236}">
                    <a16:creationId xmlns:a16="http://schemas.microsoft.com/office/drawing/2014/main" id="{D022442F-C26C-4356-866F-C5BE4C6320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5388" y="2021634"/>
                <a:ext cx="241300" cy="487363"/>
              </a:xfrm>
              <a:custGeom>
                <a:avLst/>
                <a:gdLst>
                  <a:gd name="T0" fmla="*/ 0 w 73"/>
                  <a:gd name="T1" fmla="*/ 148 h 148"/>
                  <a:gd name="T2" fmla="*/ 0 w 73"/>
                  <a:gd name="T3" fmla="*/ 137 h 148"/>
                  <a:gd name="T4" fmla="*/ 63 w 73"/>
                  <a:gd name="T5" fmla="*/ 74 h 148"/>
                  <a:gd name="T6" fmla="*/ 0 w 73"/>
                  <a:gd name="T7" fmla="*/ 10 h 148"/>
                  <a:gd name="T8" fmla="*/ 0 w 73"/>
                  <a:gd name="T9" fmla="*/ 0 h 148"/>
                  <a:gd name="T10" fmla="*/ 73 w 73"/>
                  <a:gd name="T11" fmla="*/ 74 h 148"/>
                  <a:gd name="T12" fmla="*/ 0 w 73"/>
                  <a:gd name="T1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48">
                    <a:moveTo>
                      <a:pt x="0" y="148"/>
                    </a:moveTo>
                    <a:cubicBezTo>
                      <a:pt x="0" y="137"/>
                      <a:pt x="0" y="137"/>
                      <a:pt x="0" y="137"/>
                    </a:cubicBezTo>
                    <a:cubicBezTo>
                      <a:pt x="35" y="137"/>
                      <a:pt x="63" y="109"/>
                      <a:pt x="63" y="74"/>
                    </a:cubicBezTo>
                    <a:cubicBezTo>
                      <a:pt x="63" y="39"/>
                      <a:pt x="35" y="10"/>
                      <a:pt x="0" y="1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0" y="0"/>
                      <a:pt x="73" y="33"/>
                      <a:pt x="73" y="74"/>
                    </a:cubicBezTo>
                    <a:cubicBezTo>
                      <a:pt x="73" y="114"/>
                      <a:pt x="40" y="148"/>
                      <a:pt x="0" y="148"/>
                    </a:cubicBezTo>
                    <a:close/>
                  </a:path>
                </a:pathLst>
              </a:custGeom>
              <a:solidFill>
                <a:srgbClr val="344A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809" tIns="44404" rIns="88809" bIns="44404" numCol="1" anchor="t" anchorCtr="0" compatLnSpc="1">
                <a:prstTxWarp prst="textNoShape">
                  <a:avLst/>
                </a:prstTxWarp>
              </a:bodyPr>
              <a:lstStyle/>
              <a:p>
                <a:pPr defTabSz="1464419"/>
                <a:endParaRPr lang="en-GB" sz="2882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3" name="Freeform 26">
                <a:extLst>
                  <a:ext uri="{FF2B5EF4-FFF2-40B4-BE49-F238E27FC236}">
                    <a16:creationId xmlns:a16="http://schemas.microsoft.com/office/drawing/2014/main" id="{4126D915-A5A4-41A2-8CC3-37CD260F79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5388" y="2172447"/>
                <a:ext cx="92075" cy="182563"/>
              </a:xfrm>
              <a:custGeom>
                <a:avLst/>
                <a:gdLst>
                  <a:gd name="T0" fmla="*/ 0 w 28"/>
                  <a:gd name="T1" fmla="*/ 55 h 55"/>
                  <a:gd name="T2" fmla="*/ 0 w 28"/>
                  <a:gd name="T3" fmla="*/ 45 h 55"/>
                  <a:gd name="T4" fmla="*/ 18 w 28"/>
                  <a:gd name="T5" fmla="*/ 28 h 55"/>
                  <a:gd name="T6" fmla="*/ 0 w 28"/>
                  <a:gd name="T7" fmla="*/ 10 h 55"/>
                  <a:gd name="T8" fmla="*/ 0 w 28"/>
                  <a:gd name="T9" fmla="*/ 0 h 55"/>
                  <a:gd name="T10" fmla="*/ 28 w 28"/>
                  <a:gd name="T11" fmla="*/ 28 h 55"/>
                  <a:gd name="T12" fmla="*/ 0 w 28"/>
                  <a:gd name="T13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55">
                    <a:moveTo>
                      <a:pt x="0" y="55"/>
                    </a:moveTo>
                    <a:cubicBezTo>
                      <a:pt x="0" y="45"/>
                      <a:pt x="0" y="45"/>
                      <a:pt x="0" y="45"/>
                    </a:cubicBezTo>
                    <a:cubicBezTo>
                      <a:pt x="10" y="45"/>
                      <a:pt x="18" y="37"/>
                      <a:pt x="18" y="28"/>
                    </a:cubicBezTo>
                    <a:cubicBezTo>
                      <a:pt x="18" y="18"/>
                      <a:pt x="10" y="10"/>
                      <a:pt x="0" y="1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0"/>
                      <a:pt x="28" y="12"/>
                      <a:pt x="28" y="28"/>
                    </a:cubicBezTo>
                    <a:cubicBezTo>
                      <a:pt x="28" y="43"/>
                      <a:pt x="15" y="55"/>
                      <a:pt x="0" y="55"/>
                    </a:cubicBezTo>
                    <a:close/>
                  </a:path>
                </a:pathLst>
              </a:custGeom>
              <a:solidFill>
                <a:srgbClr val="9096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809" tIns="44404" rIns="88809" bIns="44404" numCol="1" anchor="t" anchorCtr="0" compatLnSpc="1">
                <a:prstTxWarp prst="textNoShape">
                  <a:avLst/>
                </a:prstTxWarp>
              </a:bodyPr>
              <a:lstStyle/>
              <a:p>
                <a:pPr defTabSz="1464419"/>
                <a:endParaRPr lang="en-GB" sz="2882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4" name="Freeform 27">
                <a:extLst>
                  <a:ext uri="{FF2B5EF4-FFF2-40B4-BE49-F238E27FC236}">
                    <a16:creationId xmlns:a16="http://schemas.microsoft.com/office/drawing/2014/main" id="{D950FDBB-F488-49AF-935F-068DD75893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8563" y="2096247"/>
                <a:ext cx="165100" cy="333375"/>
              </a:xfrm>
              <a:custGeom>
                <a:avLst/>
                <a:gdLst>
                  <a:gd name="T0" fmla="*/ 0 w 50"/>
                  <a:gd name="T1" fmla="*/ 101 h 101"/>
                  <a:gd name="T2" fmla="*/ 0 w 50"/>
                  <a:gd name="T3" fmla="*/ 91 h 101"/>
                  <a:gd name="T4" fmla="*/ 40 w 50"/>
                  <a:gd name="T5" fmla="*/ 51 h 101"/>
                  <a:gd name="T6" fmla="*/ 0 w 50"/>
                  <a:gd name="T7" fmla="*/ 10 h 101"/>
                  <a:gd name="T8" fmla="*/ 0 w 50"/>
                  <a:gd name="T9" fmla="*/ 0 h 101"/>
                  <a:gd name="T10" fmla="*/ 50 w 50"/>
                  <a:gd name="T11" fmla="*/ 51 h 101"/>
                  <a:gd name="T12" fmla="*/ 0 w 50"/>
                  <a:gd name="T13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101">
                    <a:moveTo>
                      <a:pt x="0" y="101"/>
                    </a:moveTo>
                    <a:cubicBezTo>
                      <a:pt x="0" y="91"/>
                      <a:pt x="0" y="91"/>
                      <a:pt x="0" y="91"/>
                    </a:cubicBezTo>
                    <a:cubicBezTo>
                      <a:pt x="22" y="91"/>
                      <a:pt x="40" y="73"/>
                      <a:pt x="40" y="51"/>
                    </a:cubicBezTo>
                    <a:cubicBezTo>
                      <a:pt x="40" y="28"/>
                      <a:pt x="22" y="10"/>
                      <a:pt x="0" y="1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8" y="0"/>
                      <a:pt x="50" y="23"/>
                      <a:pt x="50" y="51"/>
                    </a:cubicBezTo>
                    <a:cubicBezTo>
                      <a:pt x="50" y="78"/>
                      <a:pt x="28" y="101"/>
                      <a:pt x="0" y="101"/>
                    </a:cubicBezTo>
                    <a:close/>
                  </a:path>
                </a:pathLst>
              </a:custGeom>
              <a:solidFill>
                <a:srgbClr val="606C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809" tIns="44404" rIns="88809" bIns="44404" numCol="1" anchor="t" anchorCtr="0" compatLnSpc="1">
                <a:prstTxWarp prst="textNoShape">
                  <a:avLst/>
                </a:prstTxWarp>
              </a:bodyPr>
              <a:lstStyle/>
              <a:p>
                <a:pPr defTabSz="1464419"/>
                <a:endParaRPr lang="en-GB" sz="2882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20355BE9-A5B1-477E-BEE8-DB2F0460346C}"/>
                </a:ext>
              </a:extLst>
            </p:cNvPr>
            <p:cNvSpPr/>
            <p:nvPr/>
          </p:nvSpPr>
          <p:spPr>
            <a:xfrm>
              <a:off x="6020593" y="2009728"/>
              <a:ext cx="511176" cy="511176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4419"/>
              <a:endParaRPr lang="en-GB" sz="2882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95" name="Freeform 38">
            <a:extLst>
              <a:ext uri="{FF2B5EF4-FFF2-40B4-BE49-F238E27FC236}">
                <a16:creationId xmlns:a16="http://schemas.microsoft.com/office/drawing/2014/main" id="{7A534C6B-056F-4EF4-9DCA-183C2575D590}"/>
              </a:ext>
            </a:extLst>
          </p:cNvPr>
          <p:cNvSpPr>
            <a:spLocks/>
          </p:cNvSpPr>
          <p:nvPr userDrawn="1"/>
        </p:nvSpPr>
        <p:spPr bwMode="auto">
          <a:xfrm>
            <a:off x="14342923" y="8869490"/>
            <a:ext cx="582208" cy="788196"/>
          </a:xfrm>
          <a:custGeom>
            <a:avLst/>
            <a:gdLst>
              <a:gd name="T0" fmla="*/ 229 w 229"/>
              <a:gd name="T1" fmla="*/ 310 h 310"/>
              <a:gd name="T2" fmla="*/ 195 w 229"/>
              <a:gd name="T3" fmla="*/ 310 h 310"/>
              <a:gd name="T4" fmla="*/ 0 w 229"/>
              <a:gd name="T5" fmla="*/ 0 h 310"/>
              <a:gd name="T6" fmla="*/ 33 w 229"/>
              <a:gd name="T7" fmla="*/ 0 h 310"/>
              <a:gd name="T8" fmla="*/ 229 w 229"/>
              <a:gd name="T9" fmla="*/ 310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9" h="310">
                <a:moveTo>
                  <a:pt x="229" y="310"/>
                </a:moveTo>
                <a:lnTo>
                  <a:pt x="195" y="310"/>
                </a:lnTo>
                <a:lnTo>
                  <a:pt x="0" y="0"/>
                </a:lnTo>
                <a:lnTo>
                  <a:pt x="33" y="0"/>
                </a:lnTo>
                <a:lnTo>
                  <a:pt x="229" y="310"/>
                </a:lnTo>
                <a:close/>
              </a:path>
            </a:pathLst>
          </a:custGeom>
          <a:solidFill>
            <a:srgbClr val="B1200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AC85E34C-7AEC-410F-A474-ECC77DBCC569}"/>
              </a:ext>
            </a:extLst>
          </p:cNvPr>
          <p:cNvGrpSpPr/>
          <p:nvPr userDrawn="1"/>
        </p:nvGrpSpPr>
        <p:grpSpPr>
          <a:xfrm>
            <a:off x="18364027" y="8693092"/>
            <a:ext cx="581584" cy="581625"/>
            <a:chOff x="6020593" y="2009728"/>
            <a:chExt cx="511176" cy="511176"/>
          </a:xfrm>
        </p:grpSpPr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FB9BC7BF-FB7D-4069-812D-8A3852C5A2CE}"/>
                </a:ext>
              </a:extLst>
            </p:cNvPr>
            <p:cNvGrpSpPr/>
            <p:nvPr/>
          </p:nvGrpSpPr>
          <p:grpSpPr>
            <a:xfrm>
              <a:off x="6275388" y="2021635"/>
              <a:ext cx="241300" cy="487363"/>
              <a:chOff x="6275388" y="2021634"/>
              <a:chExt cx="241300" cy="487363"/>
            </a:xfrm>
          </p:grpSpPr>
          <p:sp>
            <p:nvSpPr>
              <p:cNvPr id="99" name="Freeform 25">
                <a:extLst>
                  <a:ext uri="{FF2B5EF4-FFF2-40B4-BE49-F238E27FC236}">
                    <a16:creationId xmlns:a16="http://schemas.microsoft.com/office/drawing/2014/main" id="{C23DCBF9-BDC9-407A-B77E-99FDBDA32C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5388" y="2021634"/>
                <a:ext cx="241300" cy="487363"/>
              </a:xfrm>
              <a:custGeom>
                <a:avLst/>
                <a:gdLst>
                  <a:gd name="T0" fmla="*/ 0 w 73"/>
                  <a:gd name="T1" fmla="*/ 148 h 148"/>
                  <a:gd name="T2" fmla="*/ 0 w 73"/>
                  <a:gd name="T3" fmla="*/ 137 h 148"/>
                  <a:gd name="T4" fmla="*/ 63 w 73"/>
                  <a:gd name="T5" fmla="*/ 74 h 148"/>
                  <a:gd name="T6" fmla="*/ 0 w 73"/>
                  <a:gd name="T7" fmla="*/ 10 h 148"/>
                  <a:gd name="T8" fmla="*/ 0 w 73"/>
                  <a:gd name="T9" fmla="*/ 0 h 148"/>
                  <a:gd name="T10" fmla="*/ 73 w 73"/>
                  <a:gd name="T11" fmla="*/ 74 h 148"/>
                  <a:gd name="T12" fmla="*/ 0 w 73"/>
                  <a:gd name="T13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48">
                    <a:moveTo>
                      <a:pt x="0" y="148"/>
                    </a:moveTo>
                    <a:cubicBezTo>
                      <a:pt x="0" y="137"/>
                      <a:pt x="0" y="137"/>
                      <a:pt x="0" y="137"/>
                    </a:cubicBezTo>
                    <a:cubicBezTo>
                      <a:pt x="35" y="137"/>
                      <a:pt x="63" y="109"/>
                      <a:pt x="63" y="74"/>
                    </a:cubicBezTo>
                    <a:cubicBezTo>
                      <a:pt x="63" y="39"/>
                      <a:pt x="35" y="10"/>
                      <a:pt x="0" y="1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0" y="0"/>
                      <a:pt x="73" y="33"/>
                      <a:pt x="73" y="74"/>
                    </a:cubicBezTo>
                    <a:cubicBezTo>
                      <a:pt x="73" y="114"/>
                      <a:pt x="40" y="148"/>
                      <a:pt x="0" y="148"/>
                    </a:cubicBezTo>
                    <a:close/>
                  </a:path>
                </a:pathLst>
              </a:custGeom>
              <a:solidFill>
                <a:srgbClr val="344A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809" tIns="44404" rIns="88809" bIns="44404" numCol="1" anchor="t" anchorCtr="0" compatLnSpc="1">
                <a:prstTxWarp prst="textNoShape">
                  <a:avLst/>
                </a:prstTxWarp>
              </a:bodyPr>
              <a:lstStyle/>
              <a:p>
                <a:pPr defTabSz="1464419"/>
                <a:endParaRPr lang="en-GB" sz="2882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0" name="Freeform 26">
                <a:extLst>
                  <a:ext uri="{FF2B5EF4-FFF2-40B4-BE49-F238E27FC236}">
                    <a16:creationId xmlns:a16="http://schemas.microsoft.com/office/drawing/2014/main" id="{7C9DFB53-739A-4F07-9F74-69DD7ECBE4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5388" y="2172447"/>
                <a:ext cx="92075" cy="182563"/>
              </a:xfrm>
              <a:custGeom>
                <a:avLst/>
                <a:gdLst>
                  <a:gd name="T0" fmla="*/ 0 w 28"/>
                  <a:gd name="T1" fmla="*/ 55 h 55"/>
                  <a:gd name="T2" fmla="*/ 0 w 28"/>
                  <a:gd name="T3" fmla="*/ 45 h 55"/>
                  <a:gd name="T4" fmla="*/ 18 w 28"/>
                  <a:gd name="T5" fmla="*/ 28 h 55"/>
                  <a:gd name="T6" fmla="*/ 0 w 28"/>
                  <a:gd name="T7" fmla="*/ 10 h 55"/>
                  <a:gd name="T8" fmla="*/ 0 w 28"/>
                  <a:gd name="T9" fmla="*/ 0 h 55"/>
                  <a:gd name="T10" fmla="*/ 28 w 28"/>
                  <a:gd name="T11" fmla="*/ 28 h 55"/>
                  <a:gd name="T12" fmla="*/ 0 w 28"/>
                  <a:gd name="T13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55">
                    <a:moveTo>
                      <a:pt x="0" y="55"/>
                    </a:moveTo>
                    <a:cubicBezTo>
                      <a:pt x="0" y="45"/>
                      <a:pt x="0" y="45"/>
                      <a:pt x="0" y="45"/>
                    </a:cubicBezTo>
                    <a:cubicBezTo>
                      <a:pt x="10" y="45"/>
                      <a:pt x="18" y="37"/>
                      <a:pt x="18" y="28"/>
                    </a:cubicBezTo>
                    <a:cubicBezTo>
                      <a:pt x="18" y="18"/>
                      <a:pt x="10" y="10"/>
                      <a:pt x="0" y="1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0"/>
                      <a:pt x="28" y="12"/>
                      <a:pt x="28" y="28"/>
                    </a:cubicBezTo>
                    <a:cubicBezTo>
                      <a:pt x="28" y="43"/>
                      <a:pt x="15" y="55"/>
                      <a:pt x="0" y="55"/>
                    </a:cubicBezTo>
                    <a:close/>
                  </a:path>
                </a:pathLst>
              </a:custGeom>
              <a:solidFill>
                <a:srgbClr val="9096A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809" tIns="44404" rIns="88809" bIns="44404" numCol="1" anchor="t" anchorCtr="0" compatLnSpc="1">
                <a:prstTxWarp prst="textNoShape">
                  <a:avLst/>
                </a:prstTxWarp>
              </a:bodyPr>
              <a:lstStyle/>
              <a:p>
                <a:pPr defTabSz="1464419"/>
                <a:endParaRPr lang="en-GB" sz="2882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1" name="Freeform 27">
                <a:extLst>
                  <a:ext uri="{FF2B5EF4-FFF2-40B4-BE49-F238E27FC236}">
                    <a16:creationId xmlns:a16="http://schemas.microsoft.com/office/drawing/2014/main" id="{CDB2EC94-B764-49FD-95FF-4C1B4B8399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8563" y="2096247"/>
                <a:ext cx="165100" cy="333375"/>
              </a:xfrm>
              <a:custGeom>
                <a:avLst/>
                <a:gdLst>
                  <a:gd name="T0" fmla="*/ 0 w 50"/>
                  <a:gd name="T1" fmla="*/ 101 h 101"/>
                  <a:gd name="T2" fmla="*/ 0 w 50"/>
                  <a:gd name="T3" fmla="*/ 91 h 101"/>
                  <a:gd name="T4" fmla="*/ 40 w 50"/>
                  <a:gd name="T5" fmla="*/ 51 h 101"/>
                  <a:gd name="T6" fmla="*/ 0 w 50"/>
                  <a:gd name="T7" fmla="*/ 10 h 101"/>
                  <a:gd name="T8" fmla="*/ 0 w 50"/>
                  <a:gd name="T9" fmla="*/ 0 h 101"/>
                  <a:gd name="T10" fmla="*/ 50 w 50"/>
                  <a:gd name="T11" fmla="*/ 51 h 101"/>
                  <a:gd name="T12" fmla="*/ 0 w 50"/>
                  <a:gd name="T13" fmla="*/ 101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101">
                    <a:moveTo>
                      <a:pt x="0" y="101"/>
                    </a:moveTo>
                    <a:cubicBezTo>
                      <a:pt x="0" y="91"/>
                      <a:pt x="0" y="91"/>
                      <a:pt x="0" y="91"/>
                    </a:cubicBezTo>
                    <a:cubicBezTo>
                      <a:pt x="22" y="91"/>
                      <a:pt x="40" y="73"/>
                      <a:pt x="40" y="51"/>
                    </a:cubicBezTo>
                    <a:cubicBezTo>
                      <a:pt x="40" y="28"/>
                      <a:pt x="22" y="10"/>
                      <a:pt x="0" y="1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8" y="0"/>
                      <a:pt x="50" y="23"/>
                      <a:pt x="50" y="51"/>
                    </a:cubicBezTo>
                    <a:cubicBezTo>
                      <a:pt x="50" y="78"/>
                      <a:pt x="28" y="101"/>
                      <a:pt x="0" y="101"/>
                    </a:cubicBezTo>
                    <a:close/>
                  </a:path>
                </a:pathLst>
              </a:custGeom>
              <a:solidFill>
                <a:srgbClr val="606C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809" tIns="44404" rIns="88809" bIns="44404" numCol="1" anchor="t" anchorCtr="0" compatLnSpc="1">
                <a:prstTxWarp prst="textNoShape">
                  <a:avLst/>
                </a:prstTxWarp>
              </a:bodyPr>
              <a:lstStyle/>
              <a:p>
                <a:pPr defTabSz="1464419"/>
                <a:endParaRPr lang="en-GB" sz="2882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E014DA5C-E6CC-44A3-BC86-F9B019610D28}"/>
                </a:ext>
              </a:extLst>
            </p:cNvPr>
            <p:cNvSpPr/>
            <p:nvPr/>
          </p:nvSpPr>
          <p:spPr>
            <a:xfrm>
              <a:off x="6020593" y="2009728"/>
              <a:ext cx="511176" cy="511176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64419"/>
              <a:endParaRPr lang="en-GB" sz="2882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102" name="Freeform 37">
            <a:extLst>
              <a:ext uri="{FF2B5EF4-FFF2-40B4-BE49-F238E27FC236}">
                <a16:creationId xmlns:a16="http://schemas.microsoft.com/office/drawing/2014/main" id="{4B94A02B-770D-461B-981A-3F31EFB40CF8}"/>
              </a:ext>
            </a:extLst>
          </p:cNvPr>
          <p:cNvSpPr>
            <a:spLocks/>
          </p:cNvSpPr>
          <p:nvPr userDrawn="1"/>
        </p:nvSpPr>
        <p:spPr bwMode="auto">
          <a:xfrm>
            <a:off x="18179392" y="8508447"/>
            <a:ext cx="706785" cy="950920"/>
          </a:xfrm>
          <a:custGeom>
            <a:avLst/>
            <a:gdLst>
              <a:gd name="T0" fmla="*/ 278 w 278"/>
              <a:gd name="T1" fmla="*/ 374 h 374"/>
              <a:gd name="T2" fmla="*/ 237 w 278"/>
              <a:gd name="T3" fmla="*/ 374 h 374"/>
              <a:gd name="T4" fmla="*/ 0 w 278"/>
              <a:gd name="T5" fmla="*/ 0 h 374"/>
              <a:gd name="T6" fmla="*/ 41 w 278"/>
              <a:gd name="T7" fmla="*/ 0 h 374"/>
              <a:gd name="T8" fmla="*/ 278 w 278"/>
              <a:gd name="T9" fmla="*/ 374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8" h="374">
                <a:moveTo>
                  <a:pt x="278" y="374"/>
                </a:moveTo>
                <a:lnTo>
                  <a:pt x="237" y="374"/>
                </a:lnTo>
                <a:lnTo>
                  <a:pt x="0" y="0"/>
                </a:lnTo>
                <a:lnTo>
                  <a:pt x="41" y="0"/>
                </a:lnTo>
                <a:lnTo>
                  <a:pt x="278" y="374"/>
                </a:lnTo>
                <a:close/>
              </a:path>
            </a:pathLst>
          </a:custGeom>
          <a:solidFill>
            <a:srgbClr val="B1200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46442" tIns="73220" rIns="146442" bIns="73220" numCol="1" anchor="t" anchorCtr="0" compatLnSpc="1">
            <a:prstTxWarp prst="textNoShape">
              <a:avLst/>
            </a:prstTxWarp>
          </a:bodyPr>
          <a:lstStyle/>
          <a:p>
            <a:pPr defTabSz="1464419"/>
            <a:endParaRPr lang="en-GB" sz="2882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9428723D-18D6-4616-91E7-04E0E992894A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 bwMode="white">
          <a:xfrm>
            <a:off x="725110" y="1443129"/>
            <a:ext cx="16392832" cy="1082126"/>
          </a:xfrm>
        </p:spPr>
        <p:txBody>
          <a:bodyPr>
            <a:normAutofit/>
          </a:bodyPr>
          <a:lstStyle>
            <a:lvl1pPr algn="l">
              <a:defRPr sz="5936" b="0">
                <a:solidFill>
                  <a:schemeClr val="bg1"/>
                </a:solidFill>
              </a:defRPr>
            </a:lvl1pPr>
            <a:lvl2pPr algn="l">
              <a:defRPr sz="5936">
                <a:solidFill>
                  <a:schemeClr val="bg1"/>
                </a:solidFill>
              </a:defRPr>
            </a:lvl2pPr>
            <a:lvl3pPr algn="l">
              <a:defRPr sz="3958" b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&lt;&lt;</a:t>
            </a:r>
            <a:r>
              <a:rPr lang="en-GB" dirty="0" err="1"/>
              <a:t>Labels.Please</a:t>
            </a:r>
            <a:r>
              <a:rPr lang="en-GB" dirty="0"/>
              <a:t> switch all mobile devices to&gt;&gt;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725110" y="2567266"/>
            <a:ext cx="7961451" cy="1840386"/>
          </a:xfrm>
        </p:spPr>
        <p:txBody>
          <a:bodyPr>
            <a:normAutofit/>
          </a:bodyPr>
          <a:lstStyle>
            <a:lvl1pPr>
              <a:defRPr sz="791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&lt;&lt;</a:t>
            </a:r>
            <a:r>
              <a:rPr lang="en-US" dirty="0" err="1"/>
              <a:t>Labels.Silent</a:t>
            </a:r>
            <a:r>
              <a:rPr lang="en-US" dirty="0"/>
              <a:t>&gt;&gt;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8229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125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32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12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4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6" dur="75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4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9" dur="75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4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2" dur="7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8" grpId="0" animBg="1"/>
      <p:bldP spid="95" grpId="0" animBg="1"/>
      <p:bldP spid="102" grpId="0" animBg="1"/>
    </p:bld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smart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194AFE5-EC90-40CB-B9EA-8B2BCED8C1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martArt Placeholder 3"/>
          <p:cNvSpPr>
            <a:spLocks noGrp="1"/>
          </p:cNvSpPr>
          <p:nvPr>
            <p:ph type="dgm" sz="quarter" idx="10"/>
          </p:nvPr>
        </p:nvSpPr>
        <p:spPr>
          <a:xfrm>
            <a:off x="2631738" y="2374667"/>
            <a:ext cx="14840625" cy="7717667"/>
          </a:xfrm>
        </p:spPr>
        <p:txBody>
          <a:bodyPr/>
          <a:lstStyle/>
          <a:p>
            <a:r>
              <a:rPr lang="en-US"/>
              <a:t>Click icon to add SmartArt graphic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0301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3A45C82-75C9-5F5B-196C-089E43F847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027887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3A45C82-75C9-5F5B-196C-089E43F847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ject 2">
            <a:extLst>
              <a:ext uri="{FF2B5EF4-FFF2-40B4-BE49-F238E27FC236}">
                <a16:creationId xmlns:a16="http://schemas.microsoft.com/office/drawing/2014/main" id="{9AA00E34-14FD-CE84-656E-4814907A9C34}"/>
              </a:ext>
            </a:extLst>
          </p:cNvPr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-82548" y="-15989"/>
            <a:ext cx="20186649" cy="113253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F288CB4-8524-7DAE-119D-99975094BF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6631" y="510844"/>
            <a:ext cx="6690358" cy="630942"/>
          </a:xfr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bg object 17">
            <a:extLst>
              <a:ext uri="{FF2B5EF4-FFF2-40B4-BE49-F238E27FC236}">
                <a16:creationId xmlns:a16="http://schemas.microsoft.com/office/drawing/2014/main" id="{3AD00219-0C00-AF7E-6232-ADC23ED9A38A}"/>
              </a:ext>
            </a:extLst>
          </p:cNvPr>
          <p:cNvSpPr/>
          <p:nvPr userDrawn="1"/>
        </p:nvSpPr>
        <p:spPr>
          <a:xfrm>
            <a:off x="837670" y="523545"/>
            <a:ext cx="157480" cy="1151890"/>
          </a:xfrm>
          <a:custGeom>
            <a:avLst/>
            <a:gdLst/>
            <a:ahLst/>
            <a:cxnLst/>
            <a:rect l="l" t="t" r="r" b="b"/>
            <a:pathLst>
              <a:path w="157480" h="1151889">
                <a:moveTo>
                  <a:pt x="0" y="1151797"/>
                </a:moveTo>
                <a:lnTo>
                  <a:pt x="157063" y="1151797"/>
                </a:lnTo>
                <a:lnTo>
                  <a:pt x="157063" y="0"/>
                </a:lnTo>
                <a:lnTo>
                  <a:pt x="0" y="0"/>
                </a:lnTo>
                <a:lnTo>
                  <a:pt x="0" y="1151797"/>
                </a:lnTo>
                <a:close/>
              </a:path>
            </a:pathLst>
          </a:custGeom>
          <a:solidFill>
            <a:srgbClr val="96E3D6"/>
          </a:solidFill>
        </p:spPr>
        <p:txBody>
          <a:bodyPr wrap="square" lIns="0" tIns="0" rIns="0" bIns="0" rtlCol="0"/>
          <a:lstStyle/>
          <a:p>
            <a:endParaRPr sz="1801"/>
          </a:p>
        </p:txBody>
      </p:sp>
    </p:spTree>
    <p:extLst>
      <p:ext uri="{BB962C8B-B14F-4D97-AF65-F5344CB8AC3E}">
        <p14:creationId xmlns:p14="http://schemas.microsoft.com/office/powerpoint/2010/main" val="25677241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5.jp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55.xml"/><Relationship Id="rId47" Type="http://schemas.openxmlformats.org/officeDocument/2006/relationships/slideLayout" Target="../slideLayouts/slideLayout60.xml"/><Relationship Id="rId63" Type="http://schemas.openxmlformats.org/officeDocument/2006/relationships/slideLayout" Target="../slideLayouts/slideLayout76.xml"/><Relationship Id="rId68" Type="http://schemas.openxmlformats.org/officeDocument/2006/relationships/slideLayout" Target="../slideLayouts/slideLayout81.xml"/><Relationship Id="rId7" Type="http://schemas.openxmlformats.org/officeDocument/2006/relationships/slideLayout" Target="../slideLayouts/slideLayout20.xml"/><Relationship Id="rId71" Type="http://schemas.openxmlformats.org/officeDocument/2006/relationships/slideLayout" Target="../slideLayouts/slideLayout84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slideLayout" Target="../slideLayouts/slideLayout53.xml"/><Relationship Id="rId45" Type="http://schemas.openxmlformats.org/officeDocument/2006/relationships/slideLayout" Target="../slideLayouts/slideLayout58.xml"/><Relationship Id="rId53" Type="http://schemas.openxmlformats.org/officeDocument/2006/relationships/slideLayout" Target="../slideLayouts/slideLayout66.xml"/><Relationship Id="rId58" Type="http://schemas.openxmlformats.org/officeDocument/2006/relationships/slideLayout" Target="../slideLayouts/slideLayout71.xml"/><Relationship Id="rId66" Type="http://schemas.openxmlformats.org/officeDocument/2006/relationships/slideLayout" Target="../slideLayouts/slideLayout79.xml"/><Relationship Id="rId5" Type="http://schemas.openxmlformats.org/officeDocument/2006/relationships/slideLayout" Target="../slideLayouts/slideLayout18.xml"/><Relationship Id="rId61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Relationship Id="rId43" Type="http://schemas.openxmlformats.org/officeDocument/2006/relationships/slideLayout" Target="../slideLayouts/slideLayout56.xml"/><Relationship Id="rId48" Type="http://schemas.openxmlformats.org/officeDocument/2006/relationships/slideLayout" Target="../slideLayouts/slideLayout61.xml"/><Relationship Id="rId56" Type="http://schemas.openxmlformats.org/officeDocument/2006/relationships/slideLayout" Target="../slideLayouts/slideLayout69.xml"/><Relationship Id="rId64" Type="http://schemas.openxmlformats.org/officeDocument/2006/relationships/slideLayout" Target="../slideLayouts/slideLayout77.xml"/><Relationship Id="rId69" Type="http://schemas.openxmlformats.org/officeDocument/2006/relationships/slideLayout" Target="../slideLayouts/slideLayout82.xml"/><Relationship Id="rId8" Type="http://schemas.openxmlformats.org/officeDocument/2006/relationships/slideLayout" Target="../slideLayouts/slideLayout21.xml"/><Relationship Id="rId51" Type="http://schemas.openxmlformats.org/officeDocument/2006/relationships/slideLayout" Target="../slideLayouts/slideLayout64.xml"/><Relationship Id="rId72" Type="http://schemas.openxmlformats.org/officeDocument/2006/relationships/theme" Target="../theme/theme3.xml"/><Relationship Id="rId3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Relationship Id="rId46" Type="http://schemas.openxmlformats.org/officeDocument/2006/relationships/slideLayout" Target="../slideLayouts/slideLayout59.xml"/><Relationship Id="rId59" Type="http://schemas.openxmlformats.org/officeDocument/2006/relationships/slideLayout" Target="../slideLayouts/slideLayout72.xml"/><Relationship Id="rId67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33.xml"/><Relationship Id="rId41" Type="http://schemas.openxmlformats.org/officeDocument/2006/relationships/slideLayout" Target="../slideLayouts/slideLayout54.xml"/><Relationship Id="rId54" Type="http://schemas.openxmlformats.org/officeDocument/2006/relationships/slideLayout" Target="../slideLayouts/slideLayout67.xml"/><Relationship Id="rId62" Type="http://schemas.openxmlformats.org/officeDocument/2006/relationships/slideLayout" Target="../slideLayouts/slideLayout75.xml"/><Relationship Id="rId70" Type="http://schemas.openxmlformats.org/officeDocument/2006/relationships/slideLayout" Target="../slideLayouts/slideLayout8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49" Type="http://schemas.openxmlformats.org/officeDocument/2006/relationships/slideLayout" Target="../slideLayouts/slideLayout62.xml"/><Relationship Id="rId57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44.xml"/><Relationship Id="rId44" Type="http://schemas.openxmlformats.org/officeDocument/2006/relationships/slideLayout" Target="../slideLayouts/slideLayout57.xml"/><Relationship Id="rId52" Type="http://schemas.openxmlformats.org/officeDocument/2006/relationships/slideLayout" Target="../slideLayouts/slideLayout65.xml"/><Relationship Id="rId60" Type="http://schemas.openxmlformats.org/officeDocument/2006/relationships/slideLayout" Target="../slideLayouts/slideLayout73.xml"/><Relationship Id="rId65" Type="http://schemas.openxmlformats.org/officeDocument/2006/relationships/slideLayout" Target="../slideLayouts/slideLayout78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9" Type="http://schemas.openxmlformats.org/officeDocument/2006/relationships/slideLayout" Target="../slideLayouts/slideLayout52.xml"/><Relationship Id="rId34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63.xml"/><Relationship Id="rId55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06631" y="510844"/>
            <a:ext cx="6690359" cy="1282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100" b="1" i="0">
                <a:solidFill>
                  <a:srgbClr val="96E3D6"/>
                </a:solidFill>
                <a:latin typeface="Quicksand-SemiBold"/>
                <a:cs typeface="Quicksand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809234" y="2625963"/>
            <a:ext cx="9696450" cy="334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850" b="0" i="0">
                <a:solidFill>
                  <a:schemeClr val="bg1"/>
                </a:solidFill>
                <a:latin typeface="Quicksand"/>
                <a:cs typeface="Quicksand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6"/>
            <a:ext cx="6433312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4953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Nr.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95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B73094-518F-4019-8109-1B0D81ACCB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3085321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5" progId="TCLayout.ActiveDocument.1">
                  <p:embed/>
                </p:oleObj>
              </mc:Choice>
              <mc:Fallback>
                <p:oleObj name="think-cell Slide" r:id="rId10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B73094-518F-4019-8109-1B0D81ACCB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object 2">
            <a:extLst>
              <a:ext uri="{FF2B5EF4-FFF2-40B4-BE49-F238E27FC236}">
                <a16:creationId xmlns:a16="http://schemas.microsoft.com/office/drawing/2014/main" id="{07F7744C-3B36-A515-1469-78F2AF1ADF33}"/>
              </a:ext>
            </a:extLst>
          </p:cNvPr>
          <p:cNvPicPr/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6353" y="1"/>
            <a:ext cx="20104098" cy="1129347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06631" y="510844"/>
            <a:ext cx="6690358" cy="6309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100" b="1" i="0">
                <a:solidFill>
                  <a:srgbClr val="96E3D6"/>
                </a:solidFill>
                <a:latin typeface="Quicksand-SemiBold"/>
                <a:cs typeface="Quicksand-SemiBold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809235" y="2625964"/>
            <a:ext cx="9696450" cy="16696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850" b="0" i="0">
                <a:solidFill>
                  <a:schemeClr val="bg1"/>
                </a:solidFill>
                <a:latin typeface="Quicksand"/>
                <a:cs typeface="Quicksand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0368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179">
        <a:defRPr>
          <a:latin typeface="+mn-lt"/>
          <a:ea typeface="+mn-ea"/>
          <a:cs typeface="+mn-cs"/>
        </a:defRPr>
      </a:lvl2pPr>
      <a:lvl3pPr marL="914357">
        <a:defRPr>
          <a:latin typeface="+mn-lt"/>
          <a:ea typeface="+mn-ea"/>
          <a:cs typeface="+mn-cs"/>
        </a:defRPr>
      </a:lvl3pPr>
      <a:lvl4pPr marL="1371536">
        <a:defRPr>
          <a:latin typeface="+mn-lt"/>
          <a:ea typeface="+mn-ea"/>
          <a:cs typeface="+mn-cs"/>
        </a:defRPr>
      </a:lvl4pPr>
      <a:lvl5pPr marL="1828715">
        <a:defRPr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79">
        <a:defRPr>
          <a:latin typeface="+mn-lt"/>
          <a:ea typeface="+mn-ea"/>
          <a:cs typeface="+mn-cs"/>
        </a:defRPr>
      </a:lvl2pPr>
      <a:lvl3pPr marL="914357">
        <a:defRPr>
          <a:latin typeface="+mn-lt"/>
          <a:ea typeface="+mn-ea"/>
          <a:cs typeface="+mn-cs"/>
        </a:defRPr>
      </a:lvl3pPr>
      <a:lvl4pPr marL="1371536">
        <a:defRPr>
          <a:latin typeface="+mn-lt"/>
          <a:ea typeface="+mn-ea"/>
          <a:cs typeface="+mn-cs"/>
        </a:defRPr>
      </a:lvl4pPr>
      <a:lvl5pPr marL="1828715">
        <a:defRPr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562">
          <p15:clr>
            <a:srgbClr val="F26B43"/>
          </p15:clr>
        </p15:guide>
        <p15:guide id="2" pos="633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ots Bottom">
            <a:extLst>
              <a:ext uri="{FF2B5EF4-FFF2-40B4-BE49-F238E27FC236}">
                <a16:creationId xmlns:a16="http://schemas.microsoft.com/office/drawing/2014/main" id="{F684FBFE-1E4C-4B8A-A3BB-75666C52A980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724702" y="10596950"/>
            <a:ext cx="18654700" cy="0"/>
          </a:xfrm>
          <a:prstGeom prst="line">
            <a:avLst/>
          </a:prstGeom>
          <a:noFill/>
          <a:ln w="12700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968"/>
          </a:p>
        </p:txBody>
      </p:sp>
      <p:sp>
        <p:nvSpPr>
          <p:cNvPr id="6" name="Orange C">
            <a:extLst>
              <a:ext uri="{FF2B5EF4-FFF2-40B4-BE49-F238E27FC236}">
                <a16:creationId xmlns:a16="http://schemas.microsoft.com/office/drawing/2014/main" id="{8B4C5742-6CB1-432B-8FCE-47B3ED7FE5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9194814" y="10717267"/>
            <a:ext cx="174188" cy="324168"/>
          </a:xfrm>
          <a:custGeom>
            <a:avLst/>
            <a:gdLst>
              <a:gd name="T0" fmla="*/ 1316 w 1400"/>
              <a:gd name="T1" fmla="*/ 1523 h 2663"/>
              <a:gd name="T2" fmla="*/ 1180 w 1400"/>
              <a:gd name="T3" fmla="*/ 1368 h 2663"/>
              <a:gd name="T4" fmla="*/ 1325 w 1400"/>
              <a:gd name="T5" fmla="*/ 1216 h 2663"/>
              <a:gd name="T6" fmla="*/ 1400 w 1400"/>
              <a:gd name="T7" fmla="*/ 1216 h 2663"/>
              <a:gd name="T8" fmla="*/ 1400 w 1400"/>
              <a:gd name="T9" fmla="*/ 0 h 2663"/>
              <a:gd name="T10" fmla="*/ 642 w 1400"/>
              <a:gd name="T11" fmla="*/ 196 h 2663"/>
              <a:gd name="T12" fmla="*/ 0 w 1400"/>
              <a:gd name="T13" fmla="*/ 1334 h 2663"/>
              <a:gd name="T14" fmla="*/ 494 w 1400"/>
              <a:gd name="T15" fmla="*/ 2367 h 2663"/>
              <a:gd name="T16" fmla="*/ 1168 w 1400"/>
              <a:gd name="T17" fmla="*/ 2663 h 2663"/>
              <a:gd name="T18" fmla="*/ 1400 w 1400"/>
              <a:gd name="T19" fmla="*/ 2663 h 2663"/>
              <a:gd name="T20" fmla="*/ 1400 w 1400"/>
              <a:gd name="T21" fmla="*/ 1523 h 2663"/>
              <a:gd name="T22" fmla="*/ 1316 w 1400"/>
              <a:gd name="T23" fmla="*/ 1523 h 2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400" h="2663">
                <a:moveTo>
                  <a:pt x="1316" y="1523"/>
                </a:moveTo>
                <a:cubicBezTo>
                  <a:pt x="1279" y="1523"/>
                  <a:pt x="1180" y="1483"/>
                  <a:pt x="1180" y="1368"/>
                </a:cubicBezTo>
                <a:cubicBezTo>
                  <a:pt x="1180" y="1254"/>
                  <a:pt x="1280" y="1216"/>
                  <a:pt x="1325" y="1216"/>
                </a:cubicBezTo>
                <a:cubicBezTo>
                  <a:pt x="1345" y="1216"/>
                  <a:pt x="1387" y="1216"/>
                  <a:pt x="1400" y="1216"/>
                </a:cubicBezTo>
                <a:cubicBezTo>
                  <a:pt x="1400" y="0"/>
                  <a:pt x="1400" y="0"/>
                  <a:pt x="1400" y="0"/>
                </a:cubicBezTo>
                <a:cubicBezTo>
                  <a:pt x="1099" y="0"/>
                  <a:pt x="852" y="68"/>
                  <a:pt x="642" y="196"/>
                </a:cubicBezTo>
                <a:cubicBezTo>
                  <a:pt x="235" y="444"/>
                  <a:pt x="0" y="893"/>
                  <a:pt x="0" y="1334"/>
                </a:cubicBezTo>
                <a:cubicBezTo>
                  <a:pt x="0" y="1806"/>
                  <a:pt x="229" y="2152"/>
                  <a:pt x="494" y="2367"/>
                </a:cubicBezTo>
                <a:cubicBezTo>
                  <a:pt x="754" y="2579"/>
                  <a:pt x="1022" y="2647"/>
                  <a:pt x="1168" y="2663"/>
                </a:cubicBezTo>
                <a:cubicBezTo>
                  <a:pt x="1368" y="2663"/>
                  <a:pt x="1400" y="2663"/>
                  <a:pt x="1400" y="2663"/>
                </a:cubicBezTo>
                <a:cubicBezTo>
                  <a:pt x="1400" y="1523"/>
                  <a:pt x="1400" y="1523"/>
                  <a:pt x="1400" y="1523"/>
                </a:cubicBezTo>
                <a:cubicBezTo>
                  <a:pt x="1385" y="1523"/>
                  <a:pt x="1327" y="1523"/>
                  <a:pt x="1316" y="1523"/>
                </a:cubicBezTo>
                <a:close/>
              </a:path>
            </a:pathLst>
          </a:custGeom>
          <a:solidFill>
            <a:srgbClr val="FB5A17"/>
          </a:solidFill>
          <a:ln>
            <a:noFill/>
          </a:ln>
        </p:spPr>
        <p:txBody>
          <a:bodyPr vert="horz" wrap="square" lIns="150781" tIns="75390" rIns="150781" bIns="7539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2886"/>
          </a:p>
        </p:txBody>
      </p:sp>
      <p:sp>
        <p:nvSpPr>
          <p:cNvPr id="9" name="Page No">
            <a:extLst>
              <a:ext uri="{FF2B5EF4-FFF2-40B4-BE49-F238E27FC236}">
                <a16:creationId xmlns:a16="http://schemas.microsoft.com/office/drawing/2014/main" id="{6F717532-B391-4C26-A278-716C139832FA}"/>
              </a:ext>
            </a:extLst>
          </p:cNvPr>
          <p:cNvSpPr txBox="1">
            <a:spLocks/>
          </p:cNvSpPr>
          <p:nvPr userDrawn="1"/>
        </p:nvSpPr>
        <p:spPr bwMode="ltGray">
          <a:xfrm>
            <a:off x="18857001" y="10715683"/>
            <a:ext cx="326494" cy="326517"/>
          </a:xfrm>
          <a:prstGeom prst="ellipse">
            <a:avLst/>
          </a:prstGeom>
          <a:solidFill>
            <a:schemeClr val="tx1"/>
          </a:solidFill>
        </p:spPr>
        <p:txBody>
          <a:bodyPr vert="horz" lIns="0" tIns="0" rIns="0" bIns="0" rtlCol="0" anchor="ctr" anchorCtr="1"/>
          <a:lstStyle>
            <a:defPPr>
              <a:defRPr lang="en-US"/>
            </a:defPPr>
            <a:lvl1pPr marL="0" algn="ctr" defTabSz="893186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46593" algn="l" defTabSz="893186" rtl="0" eaLnBrk="1" latinLnBrk="0" hangingPunct="1">
              <a:defRPr sz="17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3186" algn="l" defTabSz="893186" rtl="0" eaLnBrk="1" latinLnBrk="0" hangingPunct="1">
              <a:defRPr sz="17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9779" algn="l" defTabSz="893186" rtl="0" eaLnBrk="1" latinLnBrk="0" hangingPunct="1">
              <a:defRPr sz="17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6372" algn="l" defTabSz="893186" rtl="0" eaLnBrk="1" latinLnBrk="0" hangingPunct="1">
              <a:defRPr sz="17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32965" algn="l" defTabSz="893186" rtl="0" eaLnBrk="1" latinLnBrk="0" hangingPunct="1">
              <a:defRPr sz="17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79558" algn="l" defTabSz="893186" rtl="0" eaLnBrk="1" latinLnBrk="0" hangingPunct="1">
              <a:defRPr sz="17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26151" algn="l" defTabSz="893186" rtl="0" eaLnBrk="1" latinLnBrk="0" hangingPunct="1">
              <a:defRPr sz="17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72744" algn="l" defTabSz="893186" rtl="0" eaLnBrk="1" latinLnBrk="0" hangingPunct="1">
              <a:defRPr sz="175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FDD4F9-97EE-40D3-B28E-3D6D0FBA82D3}" type="slidenum">
              <a:rPr lang="en-GB" sz="1319" smtClean="0"/>
              <a:pPr/>
              <a:t>‹Nr.›</a:t>
            </a:fld>
            <a:endParaRPr lang="en-GB" sz="1319" dirty="0"/>
          </a:p>
        </p:txBody>
      </p:sp>
      <p:sp>
        <p:nvSpPr>
          <p:cNvPr id="3" name="Text"/>
          <p:cNvSpPr>
            <a:spLocks noGrp="1"/>
          </p:cNvSpPr>
          <p:nvPr>
            <p:ph type="body" idx="1"/>
          </p:nvPr>
        </p:nvSpPr>
        <p:spPr>
          <a:xfrm>
            <a:off x="712350" y="2887962"/>
            <a:ext cx="18656651" cy="74004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724701" y="1058996"/>
            <a:ext cx="18644300" cy="7105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Dots Top"/>
          <p:cNvSpPr>
            <a:spLocks noChangeShapeType="1"/>
          </p:cNvSpPr>
          <p:nvPr/>
        </p:nvSpPr>
        <p:spPr bwMode="auto">
          <a:xfrm>
            <a:off x="724702" y="712400"/>
            <a:ext cx="18654700" cy="0"/>
          </a:xfrm>
          <a:prstGeom prst="line">
            <a:avLst/>
          </a:prstGeom>
          <a:noFill/>
          <a:ln w="12700" cap="rnd">
            <a:solidFill>
              <a:schemeClr val="tx1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968"/>
          </a:p>
        </p:txBody>
      </p:sp>
      <p:sp>
        <p:nvSpPr>
          <p:cNvPr id="11" name="osborneclarke.com">
            <a:extLst>
              <a:ext uri="{FF2B5EF4-FFF2-40B4-BE49-F238E27FC236}">
                <a16:creationId xmlns:a16="http://schemas.microsoft.com/office/drawing/2014/main" id="{4C5F8D2B-08D0-4FFC-A7E4-7884F125241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24702" y="412342"/>
            <a:ext cx="1467350" cy="203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/>
            <a:r>
              <a:rPr lang="en-GB" sz="1319" b="0" dirty="0">
                <a:solidFill>
                  <a:schemeClr val="tx1"/>
                </a:solidFill>
              </a:rPr>
              <a:t>osborneclarke.com </a:t>
            </a:r>
          </a:p>
        </p:txBody>
      </p:sp>
    </p:spTree>
    <p:extLst>
      <p:ext uri="{BB962C8B-B14F-4D97-AF65-F5344CB8AC3E}">
        <p14:creationId xmlns:p14="http://schemas.microsoft.com/office/powerpoint/2010/main" val="1732450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  <p:sldLayoutId id="2147483718" r:id="rId22"/>
    <p:sldLayoutId id="2147483719" r:id="rId23"/>
    <p:sldLayoutId id="2147483720" r:id="rId24"/>
    <p:sldLayoutId id="2147483721" r:id="rId25"/>
    <p:sldLayoutId id="2147483722" r:id="rId26"/>
    <p:sldLayoutId id="2147483723" r:id="rId27"/>
    <p:sldLayoutId id="2147483724" r:id="rId28"/>
    <p:sldLayoutId id="2147483725" r:id="rId29"/>
    <p:sldLayoutId id="2147483726" r:id="rId30"/>
    <p:sldLayoutId id="2147483727" r:id="rId31"/>
    <p:sldLayoutId id="2147483728" r:id="rId32"/>
    <p:sldLayoutId id="2147483729" r:id="rId33"/>
    <p:sldLayoutId id="2147483730" r:id="rId34"/>
    <p:sldLayoutId id="2147483731" r:id="rId35"/>
    <p:sldLayoutId id="2147483732" r:id="rId36"/>
    <p:sldLayoutId id="2147483733" r:id="rId37"/>
    <p:sldLayoutId id="2147483734" r:id="rId38"/>
    <p:sldLayoutId id="2147483735" r:id="rId39"/>
    <p:sldLayoutId id="2147483736" r:id="rId40"/>
    <p:sldLayoutId id="2147483737" r:id="rId41"/>
    <p:sldLayoutId id="2147483738" r:id="rId42"/>
    <p:sldLayoutId id="2147483739" r:id="rId43"/>
    <p:sldLayoutId id="2147483740" r:id="rId44"/>
    <p:sldLayoutId id="2147483741" r:id="rId45"/>
    <p:sldLayoutId id="2147483742" r:id="rId46"/>
    <p:sldLayoutId id="2147483743" r:id="rId47"/>
    <p:sldLayoutId id="2147483744" r:id="rId48"/>
    <p:sldLayoutId id="2147483745" r:id="rId49"/>
    <p:sldLayoutId id="2147483746" r:id="rId50"/>
    <p:sldLayoutId id="2147483747" r:id="rId51"/>
    <p:sldLayoutId id="2147483748" r:id="rId52"/>
    <p:sldLayoutId id="2147483749" r:id="rId53"/>
    <p:sldLayoutId id="2147483750" r:id="rId54"/>
    <p:sldLayoutId id="2147483751" r:id="rId55"/>
    <p:sldLayoutId id="2147483752" r:id="rId56"/>
    <p:sldLayoutId id="2147483753" r:id="rId57"/>
    <p:sldLayoutId id="2147483754" r:id="rId58"/>
    <p:sldLayoutId id="2147483755" r:id="rId59"/>
    <p:sldLayoutId id="2147483756" r:id="rId60"/>
    <p:sldLayoutId id="2147483757" r:id="rId61"/>
    <p:sldLayoutId id="2147483758" r:id="rId62"/>
    <p:sldLayoutId id="2147483759" r:id="rId63"/>
    <p:sldLayoutId id="2147483760" r:id="rId64"/>
    <p:sldLayoutId id="2147483761" r:id="rId65"/>
    <p:sldLayoutId id="2147483762" r:id="rId66"/>
    <p:sldLayoutId id="2147483763" r:id="rId67"/>
    <p:sldLayoutId id="2147483764" r:id="rId68"/>
    <p:sldLayoutId id="2147483765" r:id="rId69"/>
    <p:sldLayoutId id="2147483766" r:id="rId70"/>
    <p:sldLayoutId id="2147483767" r:id="rId7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  <p:txStyles>
    <p:titleStyle>
      <a:lvl1pPr algn="l" defTabSz="1507846" rtl="0" eaLnBrk="1" latinLnBrk="0" hangingPunct="1">
        <a:spcBef>
          <a:spcPct val="0"/>
        </a:spcBef>
        <a:buNone/>
        <a:defRPr sz="4617" b="0" kern="1200">
          <a:solidFill>
            <a:srgbClr val="FB5A17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1507846" rtl="0" eaLnBrk="1" latinLnBrk="0" hangingPunct="1">
        <a:spcBef>
          <a:spcPts val="1979"/>
        </a:spcBef>
        <a:spcAft>
          <a:spcPts val="1979"/>
        </a:spcAft>
        <a:buFont typeface="Arial" pitchFamily="34" charset="0"/>
        <a:buNone/>
        <a:defRPr sz="5277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0" indent="0" algn="l" defTabSz="1507846" rtl="0" eaLnBrk="1" latinLnBrk="0" hangingPunct="1">
        <a:spcBef>
          <a:spcPts val="1979"/>
        </a:spcBef>
        <a:spcAft>
          <a:spcPts val="1979"/>
        </a:spcAft>
        <a:buClr>
          <a:schemeClr val="tx2"/>
        </a:buClr>
        <a:buFont typeface="Arial" pitchFamily="34" charset="0"/>
        <a:buNone/>
        <a:defRPr sz="5277" b="1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0" indent="0" algn="l" defTabSz="1507846" rtl="0" eaLnBrk="1" latinLnBrk="0" hangingPunct="1">
        <a:spcBef>
          <a:spcPts val="1979"/>
        </a:spcBef>
        <a:spcAft>
          <a:spcPts val="1979"/>
        </a:spcAft>
        <a:buClr>
          <a:schemeClr val="tx1"/>
        </a:buClr>
        <a:buFontTx/>
        <a:buNone/>
        <a:defRPr sz="5277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187280" indent="-1187280" algn="l" defTabSz="1507846" rtl="0" eaLnBrk="1" latinLnBrk="0" hangingPunct="1">
        <a:spcBef>
          <a:spcPts val="1979"/>
        </a:spcBef>
        <a:spcAft>
          <a:spcPts val="1979"/>
        </a:spcAft>
        <a:buClr>
          <a:schemeClr val="tx1"/>
        </a:buClr>
        <a:buFont typeface="Arial" panose="020B0604020202020204" pitchFamily="34" charset="0"/>
        <a:buChar char="•"/>
        <a:tabLst/>
        <a:defRPr sz="5277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2374560" indent="-1187280" algn="l" defTabSz="1507846" rtl="0" eaLnBrk="1" latinLnBrk="0" hangingPunct="1">
        <a:spcBef>
          <a:spcPts val="1979"/>
        </a:spcBef>
        <a:spcAft>
          <a:spcPts val="1979"/>
        </a:spcAft>
        <a:buClr>
          <a:schemeClr val="tx1"/>
        </a:buClr>
        <a:buFont typeface="Arial" panose="020B0604020202020204" pitchFamily="34" charset="0"/>
        <a:buChar char="‒"/>
        <a:defRPr lang="en-US" sz="5277" kern="1200" noProof="0" dirty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3561840" indent="-1187280" algn="l" defTabSz="1507846" rtl="0" eaLnBrk="1" latinLnBrk="0" hangingPunct="1">
        <a:spcBef>
          <a:spcPts val="1979"/>
        </a:spcBef>
        <a:spcAft>
          <a:spcPts val="1979"/>
        </a:spcAft>
        <a:buClr>
          <a:schemeClr val="tx1"/>
        </a:buClr>
        <a:buFont typeface="Arial" panose="020B0604020202020204" pitchFamily="34" charset="0"/>
        <a:buChar char="‒"/>
        <a:tabLst/>
        <a:defRPr sz="5277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187280" indent="-1187280" algn="l" defTabSz="1507846" rtl="0" eaLnBrk="1" latinLnBrk="0" hangingPunct="1">
        <a:spcBef>
          <a:spcPts val="1979"/>
        </a:spcBef>
        <a:spcAft>
          <a:spcPts val="1979"/>
        </a:spcAft>
        <a:buFont typeface="+mj-lt"/>
        <a:buAutoNum type="arabicPeriod"/>
        <a:defRPr lang="en-US" sz="5277" b="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374560" indent="-1187280" algn="l" defTabSz="1507846" rtl="0" eaLnBrk="1" latinLnBrk="0" hangingPunct="1">
        <a:spcBef>
          <a:spcPts val="1979"/>
        </a:spcBef>
        <a:spcAft>
          <a:spcPts val="1979"/>
        </a:spcAft>
        <a:buFont typeface="+mj-lt"/>
        <a:buAutoNum type="alphaLcPeriod"/>
        <a:defRPr sz="5277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507846" rtl="0" eaLnBrk="1" latinLnBrk="0" hangingPunct="1">
        <a:spcBef>
          <a:spcPts val="1979"/>
        </a:spcBef>
        <a:spcAft>
          <a:spcPts val="1979"/>
        </a:spcAft>
        <a:buFont typeface="+mj-lt"/>
        <a:buNone/>
        <a:defRPr sz="527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69">
          <p15:clr>
            <a:srgbClr val="F26B43"/>
          </p15:clr>
        </p15:guide>
        <p15:guide id="2" pos="7411">
          <p15:clr>
            <a:srgbClr val="F26B43"/>
          </p15:clr>
        </p15:guide>
        <p15:guide id="4" orient="horz" pos="1103">
          <p15:clr>
            <a:srgbClr val="F26B43"/>
          </p15:clr>
        </p15:guide>
        <p15:guide id="5" orient="horz" pos="3935">
          <p15:clr>
            <a:srgbClr val="F26B43"/>
          </p15:clr>
        </p15:guide>
        <p15:guide id="6" pos="3734">
          <p15:clr>
            <a:srgbClr val="F26B43"/>
          </p15:clr>
        </p15:guide>
        <p15:guide id="12" pos="3960">
          <p15:clr>
            <a:srgbClr val="F26B43"/>
          </p15:clr>
        </p15:guide>
        <p15:guide id="22" orient="horz" pos="2478">
          <p15:clr>
            <a:srgbClr val="F26B43"/>
          </p15:clr>
        </p15:guide>
        <p15:guide id="23" pos="5155">
          <p15:clr>
            <a:srgbClr val="F26B43"/>
          </p15:clr>
        </p15:guide>
        <p15:guide id="24" orient="horz" pos="4042">
          <p15:clr>
            <a:srgbClr val="F26B43"/>
          </p15:clr>
        </p15:guide>
        <p15:guide id="25" orient="horz" pos="2205">
          <p15:clr>
            <a:srgbClr val="F26B43"/>
          </p15:clr>
        </p15:guide>
        <p15:guide id="26" orient="horz" pos="17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rontier-economics.com/media/jmxlrpul/frontier-economics_wert-von-bess-im-deutschen-stromsystem_-final-report.pdf" TargetMode="External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hyperlink" Target="https://www.pv-magazine.de/2023/11/08/netzspeicherausbau-koennte-eeg-konto-um-drei-milliarden-euro-im-jahr-entlasten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mailto:Lars.stephan@fluenceenergy.com" TargetMode="External"/><Relationship Id="rId13" Type="http://schemas.openxmlformats.org/officeDocument/2006/relationships/hyperlink" Target="http://www.baywa-re.com/" TargetMode="External"/><Relationship Id="rId3" Type="http://schemas.openxmlformats.org/officeDocument/2006/relationships/image" Target="../media/image20.png"/><Relationship Id="rId7" Type="http://schemas.openxmlformats.org/officeDocument/2006/relationships/hyperlink" Target="http://www.enspired-trading.com/" TargetMode="External"/><Relationship Id="rId12" Type="http://schemas.openxmlformats.org/officeDocument/2006/relationships/hyperlink" Target="mailto:alexander.stork@baywa-re.com" TargetMode="External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thomas.koenig@enspired-trading.com" TargetMode="External"/><Relationship Id="rId11" Type="http://schemas.openxmlformats.org/officeDocument/2006/relationships/hyperlink" Target="http://www.bne-online.de/" TargetMode="External"/><Relationship Id="rId5" Type="http://schemas.openxmlformats.org/officeDocument/2006/relationships/hyperlink" Target="http://www.kyon-energy.com/" TargetMode="External"/><Relationship Id="rId15" Type="http://schemas.openxmlformats.org/officeDocument/2006/relationships/hyperlink" Target="http://www.urban-hans.de/" TargetMode="External"/><Relationship Id="rId10" Type="http://schemas.openxmlformats.org/officeDocument/2006/relationships/hyperlink" Target="mailto:carsten.pfeiffer@bne-online.com" TargetMode="External"/><Relationship Id="rId4" Type="http://schemas.openxmlformats.org/officeDocument/2006/relationships/hyperlink" Target="mailto:benedikt.deuchert@kyon-energy.com" TargetMode="External"/><Relationship Id="rId9" Type="http://schemas.openxmlformats.org/officeDocument/2006/relationships/hyperlink" Target="http://www.fluenceenergy.com/" TargetMode="External"/><Relationship Id="rId14" Type="http://schemas.openxmlformats.org/officeDocument/2006/relationships/hyperlink" Target="mailto:buero@fluenceenergy.com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ight, night, night sky&#10;&#10;Description automatically generated">
            <a:extLst>
              <a:ext uri="{FF2B5EF4-FFF2-40B4-BE49-F238E27FC236}">
                <a16:creationId xmlns:a16="http://schemas.microsoft.com/office/drawing/2014/main" id="{D3DA728B-9B72-FDD9-72B6-E5315F8EAB2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38" r="491"/>
          <a:stretch/>
        </p:blipFill>
        <p:spPr>
          <a:xfrm flipH="1">
            <a:off x="-5420" y="0"/>
            <a:ext cx="20109519" cy="11341589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2F0D1462-3B6F-48C9-2CDD-9ADDF5959076}"/>
              </a:ext>
            </a:extLst>
          </p:cNvPr>
          <p:cNvGrpSpPr/>
          <p:nvPr/>
        </p:nvGrpSpPr>
        <p:grpSpPr>
          <a:xfrm>
            <a:off x="908396" y="1705235"/>
            <a:ext cx="18967104" cy="7865615"/>
            <a:chOff x="908396" y="2931141"/>
            <a:chExt cx="18967104" cy="6634113"/>
          </a:xfrm>
        </p:grpSpPr>
        <p:sp>
          <p:nvSpPr>
            <p:cNvPr id="8" name="object 3">
              <a:extLst>
                <a:ext uri="{FF2B5EF4-FFF2-40B4-BE49-F238E27FC236}">
                  <a16:creationId xmlns:a16="http://schemas.microsoft.com/office/drawing/2014/main" id="{AC04FC95-F8A0-6FF1-521D-0811AE59B83C}"/>
                </a:ext>
              </a:extLst>
            </p:cNvPr>
            <p:cNvSpPr txBox="1">
              <a:spLocks/>
            </p:cNvSpPr>
            <p:nvPr/>
          </p:nvSpPr>
          <p:spPr>
            <a:xfrm>
              <a:off x="908396" y="2931141"/>
              <a:ext cx="18967104" cy="6634113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>
              <a:lvl1pPr marL="0">
                <a:defRPr sz="10850" b="0" i="0">
                  <a:solidFill>
                    <a:schemeClr val="bg1"/>
                  </a:solidFill>
                  <a:latin typeface="Quicksand"/>
                  <a:ea typeface="+mn-ea"/>
                  <a:cs typeface="Quicksand"/>
                </a:defRPr>
              </a:lvl1pPr>
              <a:lvl2pPr marL="457200">
                <a:defRPr>
                  <a:latin typeface="+mn-lt"/>
                  <a:ea typeface="+mn-ea"/>
                  <a:cs typeface="+mn-cs"/>
                </a:defRPr>
              </a:lvl2pPr>
              <a:lvl3pPr marL="914400">
                <a:defRPr>
                  <a:latin typeface="+mn-lt"/>
                  <a:ea typeface="+mn-ea"/>
                  <a:cs typeface="+mn-cs"/>
                </a:defRPr>
              </a:lvl3pPr>
              <a:lvl4pPr marL="1371600">
                <a:defRPr>
                  <a:latin typeface="+mn-lt"/>
                  <a:ea typeface="+mn-ea"/>
                  <a:cs typeface="+mn-cs"/>
                </a:defRPr>
              </a:lvl4pPr>
              <a:lvl5pPr marL="1828800">
                <a:defRPr>
                  <a:latin typeface="+mn-lt"/>
                  <a:ea typeface="+mn-ea"/>
                  <a:cs typeface="+mn-cs"/>
                </a:defRPr>
              </a:lvl5pPr>
              <a:lvl6pPr marL="2286000">
                <a:defRPr>
                  <a:latin typeface="+mn-lt"/>
                  <a:ea typeface="+mn-ea"/>
                  <a:cs typeface="+mn-cs"/>
                </a:defRPr>
              </a:lvl6pPr>
              <a:lvl7pPr marL="2743200">
                <a:defRPr>
                  <a:latin typeface="+mn-lt"/>
                  <a:ea typeface="+mn-ea"/>
                  <a:cs typeface="+mn-cs"/>
                </a:defRPr>
              </a:lvl7pPr>
              <a:lvl8pPr marL="3200400">
                <a:defRPr>
                  <a:latin typeface="+mn-lt"/>
                  <a:ea typeface="+mn-ea"/>
                  <a:cs typeface="+mn-cs"/>
                </a:defRPr>
              </a:lvl8pPr>
              <a:lvl9pPr marL="3657600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pPr marL="12700" algn="l">
                <a:spcBef>
                  <a:spcPts val="135"/>
                </a:spcBef>
              </a:pPr>
              <a:r>
                <a:rPr lang="de-DE" sz="5000" b="1" dirty="0"/>
                <a:t>WERT VON </a:t>
              </a:r>
              <a:r>
                <a:rPr lang="de-DE" sz="5000" b="1" dirty="0" err="1"/>
                <a:t>GROßBATTERIESPEICHERN</a:t>
              </a:r>
              <a:r>
                <a:rPr lang="de-DE" sz="5000" b="1" dirty="0"/>
                <a:t> IM DEUTSCHEN STROMSYSTEM</a:t>
              </a:r>
            </a:p>
            <a:p>
              <a:pPr marL="12700" algn="l">
                <a:spcBef>
                  <a:spcPts val="135"/>
                </a:spcBef>
              </a:pPr>
              <a:endParaRPr lang="de-DE" sz="2000" dirty="0"/>
            </a:p>
            <a:p>
              <a:pPr marL="12700" algn="l">
                <a:spcBef>
                  <a:spcPts val="135"/>
                </a:spcBef>
              </a:pPr>
              <a:endParaRPr lang="de-DE" sz="2000" dirty="0"/>
            </a:p>
            <a:p>
              <a:pPr marL="12700" algn="l">
                <a:spcBef>
                  <a:spcPts val="135"/>
                </a:spcBef>
              </a:pPr>
              <a:endParaRPr lang="de-DE" sz="2000" dirty="0"/>
            </a:p>
            <a:p>
              <a:pPr marL="12700" algn="l">
                <a:spcBef>
                  <a:spcPts val="135"/>
                </a:spcBef>
              </a:pPr>
              <a:r>
                <a:rPr lang="de-DE" sz="2500" dirty="0"/>
                <a:t>Studie im Auftrag von BayWa R.E., Eco </a:t>
              </a:r>
              <a:r>
                <a:rPr lang="de-DE" sz="2500" dirty="0" err="1"/>
                <a:t>Stor</a:t>
              </a:r>
              <a:r>
                <a:rPr lang="de-DE" sz="2500" dirty="0"/>
                <a:t>, enspired, </a:t>
              </a:r>
              <a:r>
                <a:rPr lang="de-DE" sz="2500" dirty="0" err="1"/>
                <a:t>Fluence</a:t>
              </a:r>
              <a:r>
                <a:rPr lang="de-DE" sz="2500" dirty="0"/>
                <a:t> und </a:t>
              </a:r>
              <a:r>
                <a:rPr lang="de-DE" sz="2500" dirty="0" err="1"/>
                <a:t>Kyon</a:t>
              </a:r>
              <a:r>
                <a:rPr lang="de-DE" sz="2500" dirty="0"/>
                <a:t> – Dezember 2023:</a:t>
              </a:r>
            </a:p>
            <a:p>
              <a:pPr marL="12700" algn="l">
                <a:spcBef>
                  <a:spcPts val="135"/>
                </a:spcBef>
              </a:pPr>
              <a:endParaRPr lang="en-GB" sz="2500" dirty="0"/>
            </a:p>
            <a:p>
              <a:pPr marL="12700" algn="l">
                <a:spcBef>
                  <a:spcPts val="135"/>
                </a:spcBef>
              </a:pPr>
              <a:r>
                <a:rPr lang="en-GB" sz="2500" dirty="0"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: Wert von </a:t>
              </a:r>
              <a:r>
                <a:rPr lang="en-GB" sz="2500" dirty="0" err="1">
                  <a:hlinkClick r:id="rId3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roßbattariespeichern</a:t>
              </a:r>
              <a:r>
                <a:rPr lang="en-GB" sz="2500" dirty="0"/>
                <a:t> – Frontier Economics</a:t>
              </a:r>
            </a:p>
            <a:p>
              <a:pPr marL="12700" algn="l">
                <a:spcBef>
                  <a:spcPts val="135"/>
                </a:spcBef>
              </a:pPr>
              <a:endParaRPr lang="en-GB" sz="2000" dirty="0"/>
            </a:p>
            <a:p>
              <a:pPr marL="12700" algn="l">
                <a:spcBef>
                  <a:spcPts val="135"/>
                </a:spcBef>
              </a:pPr>
              <a:endParaRPr lang="en-GB" sz="2000" dirty="0"/>
            </a:p>
            <a:p>
              <a:pPr marL="12700" algn="l">
                <a:spcBef>
                  <a:spcPts val="135"/>
                </a:spcBef>
              </a:pPr>
              <a:endParaRPr lang="en-GB" sz="2000" dirty="0"/>
            </a:p>
            <a:p>
              <a:pPr marL="12700" algn="l">
                <a:spcBef>
                  <a:spcPts val="135"/>
                </a:spcBef>
              </a:pPr>
              <a:endParaRPr lang="en-GB" sz="2000" dirty="0"/>
            </a:p>
            <a:p>
              <a:pPr marL="12700" algn="l">
                <a:spcBef>
                  <a:spcPts val="135"/>
                </a:spcBef>
              </a:pPr>
              <a:endParaRPr lang="en-GB" sz="2000" dirty="0"/>
            </a:p>
            <a:p>
              <a:pPr marL="12700" algn="l">
                <a:spcBef>
                  <a:spcPts val="135"/>
                </a:spcBef>
              </a:pPr>
              <a:endParaRPr lang="en-GB" sz="2000" dirty="0"/>
            </a:p>
            <a:p>
              <a:pPr marL="12700" algn="l">
                <a:spcBef>
                  <a:spcPts val="135"/>
                </a:spcBef>
              </a:pPr>
              <a:endParaRPr lang="en-GB" sz="2000" dirty="0"/>
            </a:p>
            <a:p>
              <a:pPr marL="12700" algn="l">
                <a:spcBef>
                  <a:spcPts val="135"/>
                </a:spcBef>
              </a:pPr>
              <a:endParaRPr lang="en-GB" sz="2000" dirty="0"/>
            </a:p>
            <a:p>
              <a:pPr marL="12700" algn="l">
                <a:spcBef>
                  <a:spcPts val="135"/>
                </a:spcBef>
              </a:pPr>
              <a:r>
                <a:rPr lang="en-GB" sz="2500" dirty="0"/>
                <a:t>Studie </a:t>
              </a:r>
              <a:r>
                <a:rPr lang="en-GB" sz="2500" dirty="0" err="1"/>
                <a:t>im</a:t>
              </a:r>
              <a:r>
                <a:rPr lang="en-GB" sz="2500" dirty="0"/>
                <a:t> </a:t>
              </a:r>
              <a:r>
                <a:rPr lang="en-GB" sz="2500" dirty="0" err="1"/>
                <a:t>Auftrag</a:t>
              </a:r>
              <a:r>
                <a:rPr lang="en-GB" sz="2500" dirty="0"/>
                <a:t> von Eco </a:t>
              </a:r>
              <a:r>
                <a:rPr lang="en-GB" sz="2500" dirty="0" err="1"/>
                <a:t>Stor</a:t>
              </a:r>
              <a:r>
                <a:rPr lang="en-GB" sz="2500" dirty="0"/>
                <a:t> – Sommer 2023:</a:t>
              </a:r>
            </a:p>
            <a:p>
              <a:pPr marL="12700" algn="l">
                <a:spcBef>
                  <a:spcPts val="135"/>
                </a:spcBef>
              </a:pPr>
              <a:endParaRPr lang="en-GB" sz="2500" dirty="0"/>
            </a:p>
            <a:p>
              <a:pPr marL="12700" algn="l">
                <a:spcBef>
                  <a:spcPts val="135"/>
                </a:spcBef>
              </a:pPr>
              <a:r>
                <a:rPr lang="en-GB" sz="2500" dirty="0"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ink: </a:t>
              </a:r>
              <a:r>
                <a:rPr lang="de-DE" sz="2500" dirty="0"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Einfluss von Batterieausbaupfaden auf den Förderbedarf Erneuerbarer Energien </a:t>
              </a:r>
              <a:endParaRPr lang="de-DE" sz="2500" dirty="0"/>
            </a:p>
            <a:p>
              <a:pPr marL="12700" algn="l">
                <a:spcBef>
                  <a:spcPts val="135"/>
                </a:spcBef>
              </a:pPr>
              <a:r>
                <a:rPr lang="de-DE" sz="2500" dirty="0"/>
                <a:t>– global expert </a:t>
              </a:r>
              <a:r>
                <a:rPr lang="de-DE" sz="2500" dirty="0" err="1"/>
                <a:t>energy</a:t>
              </a:r>
              <a:r>
                <a:rPr lang="de-DE" sz="2500" dirty="0"/>
                <a:t> </a:t>
              </a:r>
              <a:r>
                <a:rPr lang="de-DE" sz="2500" dirty="0" err="1"/>
                <a:t>consulting</a:t>
              </a:r>
              <a:r>
                <a:rPr lang="de-DE" sz="2500" dirty="0"/>
                <a:t> </a:t>
              </a:r>
            </a:p>
          </p:txBody>
        </p:sp>
        <p:sp>
          <p:nvSpPr>
            <p:cNvPr id="2" name="object 3">
              <a:extLst>
                <a:ext uri="{FF2B5EF4-FFF2-40B4-BE49-F238E27FC236}">
                  <a16:creationId xmlns:a16="http://schemas.microsoft.com/office/drawing/2014/main" id="{EB1F44A0-BDAD-453D-7CE5-F2107E742F00}"/>
                </a:ext>
              </a:extLst>
            </p:cNvPr>
            <p:cNvSpPr txBox="1">
              <a:spLocks/>
            </p:cNvSpPr>
            <p:nvPr/>
          </p:nvSpPr>
          <p:spPr>
            <a:xfrm>
              <a:off x="914746" y="5918949"/>
              <a:ext cx="10966104" cy="509755"/>
            </a:xfrm>
            <a:prstGeom prst="rect">
              <a:avLst/>
            </a:prstGeom>
          </p:spPr>
          <p:txBody>
            <a:bodyPr vert="horz" wrap="square" lIns="0" tIns="17145" rIns="0" bIns="0" rtlCol="0">
              <a:spAutoFit/>
            </a:bodyPr>
            <a:lstStyle>
              <a:lvl1pPr marL="0">
                <a:defRPr sz="10850" b="0" i="0">
                  <a:solidFill>
                    <a:schemeClr val="bg1"/>
                  </a:solidFill>
                  <a:latin typeface="Quicksand"/>
                  <a:ea typeface="+mn-ea"/>
                  <a:cs typeface="Quicksand"/>
                </a:defRPr>
              </a:lvl1pPr>
              <a:lvl2pPr marL="457200">
                <a:defRPr>
                  <a:latin typeface="+mn-lt"/>
                  <a:ea typeface="+mn-ea"/>
                  <a:cs typeface="+mn-cs"/>
                </a:defRPr>
              </a:lvl2pPr>
              <a:lvl3pPr marL="914400">
                <a:defRPr>
                  <a:latin typeface="+mn-lt"/>
                  <a:ea typeface="+mn-ea"/>
                  <a:cs typeface="+mn-cs"/>
                </a:defRPr>
              </a:lvl3pPr>
              <a:lvl4pPr marL="1371600">
                <a:defRPr>
                  <a:latin typeface="+mn-lt"/>
                  <a:ea typeface="+mn-ea"/>
                  <a:cs typeface="+mn-cs"/>
                </a:defRPr>
              </a:lvl4pPr>
              <a:lvl5pPr marL="1828800">
                <a:defRPr>
                  <a:latin typeface="+mn-lt"/>
                  <a:ea typeface="+mn-ea"/>
                  <a:cs typeface="+mn-cs"/>
                </a:defRPr>
              </a:lvl5pPr>
              <a:lvl6pPr marL="2286000">
                <a:defRPr>
                  <a:latin typeface="+mn-lt"/>
                  <a:ea typeface="+mn-ea"/>
                  <a:cs typeface="+mn-cs"/>
                </a:defRPr>
              </a:lvl6pPr>
              <a:lvl7pPr marL="2743200">
                <a:defRPr>
                  <a:latin typeface="+mn-lt"/>
                  <a:ea typeface="+mn-ea"/>
                  <a:cs typeface="+mn-cs"/>
                </a:defRPr>
              </a:lvl7pPr>
              <a:lvl8pPr marL="3200400">
                <a:defRPr>
                  <a:latin typeface="+mn-lt"/>
                  <a:ea typeface="+mn-ea"/>
                  <a:cs typeface="+mn-cs"/>
                </a:defRPr>
              </a:lvl8pPr>
              <a:lvl9pPr marL="3657600">
                <a:defRPr>
                  <a:latin typeface="+mn-lt"/>
                  <a:ea typeface="+mn-ea"/>
                  <a:cs typeface="+mn-cs"/>
                </a:defRPr>
              </a:lvl9pPr>
            </a:lstStyle>
            <a:p>
              <a:pPr marL="12700" algn="l">
                <a:spcBef>
                  <a:spcPts val="135"/>
                </a:spcBef>
              </a:pPr>
              <a:endParaRPr lang="en-GB" sz="3200" dirty="0">
                <a:solidFill>
                  <a:srgbClr val="E6007E"/>
                </a:solidFill>
              </a:endParaRPr>
            </a:p>
          </p:txBody>
        </p:sp>
      </p:grpSp>
      <p:pic>
        <p:nvPicPr>
          <p:cNvPr id="5" name="Grafik 4" descr="Ein Bild, das Text, Muster, Screenshot, monochrom enthält.&#10;&#10;Automatisch generierte Beschreibung">
            <a:extLst>
              <a:ext uri="{FF2B5EF4-FFF2-40B4-BE49-F238E27FC236}">
                <a16:creationId xmlns:a16="http://schemas.microsoft.com/office/drawing/2014/main" id="{7C75596A-C576-B67D-D300-42E79438009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7" t="30577"/>
          <a:stretch/>
        </p:blipFill>
        <p:spPr>
          <a:xfrm>
            <a:off x="14776450" y="2699863"/>
            <a:ext cx="2781300" cy="2850003"/>
          </a:xfrm>
          <a:prstGeom prst="rect">
            <a:avLst/>
          </a:prstGeom>
        </p:spPr>
      </p:pic>
      <p:pic>
        <p:nvPicPr>
          <p:cNvPr id="14" name="Grafik 13" descr="Ein Bild, das Text, Screenshot, Muster, Quadrat enthält.&#10;&#10;Automatisch generierte Beschreibung">
            <a:extLst>
              <a:ext uri="{FF2B5EF4-FFF2-40B4-BE49-F238E27FC236}">
                <a16:creationId xmlns:a16="http://schemas.microsoft.com/office/drawing/2014/main" id="{A75C2DA9-9F11-6FAF-224F-0D5C372901A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7" t="30577"/>
          <a:stretch/>
        </p:blipFill>
        <p:spPr>
          <a:xfrm>
            <a:off x="14800580" y="6720847"/>
            <a:ext cx="2781300" cy="2850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185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ight, night, night sky&#10;&#10;Description automatically generated">
            <a:extLst>
              <a:ext uri="{FF2B5EF4-FFF2-40B4-BE49-F238E27FC236}">
                <a16:creationId xmlns:a16="http://schemas.microsoft.com/office/drawing/2014/main" id="{D3DA728B-9B72-FDD9-72B6-E5315F8EAB2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38" r="491"/>
          <a:stretch/>
        </p:blipFill>
        <p:spPr>
          <a:xfrm flipH="1">
            <a:off x="-5421" y="0"/>
            <a:ext cx="20109520" cy="1844675"/>
          </a:xfrm>
          <a:prstGeom prst="rect">
            <a:avLst/>
          </a:prstGeom>
        </p:spPr>
      </p:pic>
      <p:sp>
        <p:nvSpPr>
          <p:cNvPr id="4" name="object 22">
            <a:extLst>
              <a:ext uri="{FF2B5EF4-FFF2-40B4-BE49-F238E27FC236}">
                <a16:creationId xmlns:a16="http://schemas.microsoft.com/office/drawing/2014/main" id="{B89EF71F-41AB-AE0D-417A-3431E5E64E8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06631" y="510844"/>
            <a:ext cx="14689019" cy="646331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de-DE" dirty="0">
                <a:solidFill>
                  <a:srgbClr val="E3007D"/>
                </a:solidFill>
              </a:rPr>
              <a:t>Motivation &amp; Vorgehen</a:t>
            </a:r>
            <a:endParaRPr dirty="0">
              <a:solidFill>
                <a:srgbClr val="E3007D"/>
              </a:solidFill>
            </a:endParaRPr>
          </a:p>
        </p:txBody>
      </p:sp>
      <p:sp>
        <p:nvSpPr>
          <p:cNvPr id="7" name="object 23">
            <a:extLst>
              <a:ext uri="{FF2B5EF4-FFF2-40B4-BE49-F238E27FC236}">
                <a16:creationId xmlns:a16="http://schemas.microsoft.com/office/drawing/2014/main" id="{FD63E5A7-22B9-729B-BFA2-808C1FF31B53}"/>
              </a:ext>
            </a:extLst>
          </p:cNvPr>
          <p:cNvSpPr/>
          <p:nvPr/>
        </p:nvSpPr>
        <p:spPr>
          <a:xfrm>
            <a:off x="837670" y="523544"/>
            <a:ext cx="157480" cy="1151890"/>
          </a:xfrm>
          <a:custGeom>
            <a:avLst/>
            <a:gdLst/>
            <a:ahLst/>
            <a:cxnLst/>
            <a:rect l="l" t="t" r="r" b="b"/>
            <a:pathLst>
              <a:path w="157480" h="1151889">
                <a:moveTo>
                  <a:pt x="0" y="1151797"/>
                </a:moveTo>
                <a:lnTo>
                  <a:pt x="157063" y="1151797"/>
                </a:lnTo>
                <a:lnTo>
                  <a:pt x="157063" y="0"/>
                </a:lnTo>
                <a:lnTo>
                  <a:pt x="0" y="0"/>
                </a:lnTo>
                <a:lnTo>
                  <a:pt x="0" y="1151797"/>
                </a:lnTo>
                <a:close/>
              </a:path>
            </a:pathLst>
          </a:custGeom>
          <a:solidFill>
            <a:srgbClr val="E3007D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8" name="TextBox 129">
            <a:extLst>
              <a:ext uri="{FF2B5EF4-FFF2-40B4-BE49-F238E27FC236}">
                <a16:creationId xmlns:a16="http://schemas.microsoft.com/office/drawing/2014/main" id="{D19FC06A-D531-6B05-CE9C-D6B533F32FCC}"/>
              </a:ext>
            </a:extLst>
          </p:cNvPr>
          <p:cNvSpPr txBox="1"/>
          <p:nvPr/>
        </p:nvSpPr>
        <p:spPr>
          <a:xfrm>
            <a:off x="1136650" y="7407275"/>
            <a:ext cx="18408854" cy="27432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r>
              <a:rPr lang="en-US" sz="3500" b="1" dirty="0" err="1">
                <a:solidFill>
                  <a:srgbClr val="E3007D"/>
                </a:solidFill>
                <a:latin typeface="Quicksand" pitchFamily="2" charset="0"/>
              </a:rPr>
              <a:t>Vorgehen</a:t>
            </a:r>
            <a:r>
              <a:rPr lang="en-US" sz="3500" b="1" dirty="0">
                <a:solidFill>
                  <a:srgbClr val="E3007D"/>
                </a:solidFill>
                <a:latin typeface="Quicksand" pitchFamily="2" charset="0"/>
              </a:rPr>
              <a:t> (Frontier Studie)</a:t>
            </a:r>
            <a:endParaRPr lang="en-US" sz="3500" dirty="0">
              <a:solidFill>
                <a:schemeClr val="tx1"/>
              </a:solidFill>
              <a:latin typeface="Quicksand" pitchFamily="2" charset="0"/>
            </a:endParaRPr>
          </a:p>
          <a:p>
            <a:pPr marL="355600" indent="-285750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Frontier Economics </a:t>
            </a: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Marktmodell</a:t>
            </a:r>
            <a:endParaRPr lang="en-US" sz="2500" b="1" dirty="0">
              <a:solidFill>
                <a:schemeClr val="tx1"/>
              </a:solidFill>
              <a:latin typeface="Quicksand" pitchFamily="2" charset="0"/>
            </a:endParaRPr>
          </a:p>
          <a:p>
            <a:pPr marL="355600" indent="-285750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Ergebnisse</a:t>
            </a: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 </a:t>
            </a: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auschließlich</a:t>
            </a: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 </a:t>
            </a: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unter</a:t>
            </a: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 </a:t>
            </a: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Berücksichtigung</a:t>
            </a: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 des Day-Ahead </a:t>
            </a: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Marktes</a:t>
            </a:r>
            <a:endParaRPr lang="en-US" sz="2500" b="1" dirty="0">
              <a:solidFill>
                <a:schemeClr val="tx1"/>
              </a:solidFill>
              <a:latin typeface="Quicksand" pitchFamily="2" charset="0"/>
            </a:endParaRPr>
          </a:p>
          <a:p>
            <a:pPr marL="355600" indent="-285750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500" b="1" dirty="0" err="1">
                <a:solidFill>
                  <a:srgbClr val="E3007D"/>
                </a:solidFill>
                <a:latin typeface="Quicksand" pitchFamily="2" charset="0"/>
              </a:rPr>
              <a:t>Ergebnisse</a:t>
            </a:r>
            <a:r>
              <a:rPr lang="en-US" sz="2500" b="1" dirty="0">
                <a:solidFill>
                  <a:srgbClr val="E3007D"/>
                </a:solidFill>
                <a:latin typeface="Quicksand" pitchFamily="2" charset="0"/>
              </a:rPr>
              <a:t> </a:t>
            </a:r>
            <a:r>
              <a:rPr lang="en-US" sz="2500" b="1" dirty="0" err="1">
                <a:solidFill>
                  <a:srgbClr val="E3007D"/>
                </a:solidFill>
                <a:latin typeface="Quicksand" pitchFamily="2" charset="0"/>
              </a:rPr>
              <a:t>basieren</a:t>
            </a:r>
            <a:r>
              <a:rPr lang="en-US" sz="2500" b="1" dirty="0">
                <a:solidFill>
                  <a:srgbClr val="E3007D"/>
                </a:solidFill>
                <a:latin typeface="Quicksand" pitchFamily="2" charset="0"/>
              </a:rPr>
              <a:t> auf </a:t>
            </a:r>
            <a:r>
              <a:rPr lang="en-US" sz="2500" b="1" dirty="0" err="1">
                <a:solidFill>
                  <a:srgbClr val="E3007D"/>
                </a:solidFill>
                <a:latin typeface="Quicksand" pitchFamily="2" charset="0"/>
              </a:rPr>
              <a:t>einem</a:t>
            </a:r>
            <a:r>
              <a:rPr lang="en-US" sz="2500" b="1" dirty="0">
                <a:solidFill>
                  <a:srgbClr val="E3007D"/>
                </a:solidFill>
                <a:latin typeface="Quicksand" pitchFamily="2" charset="0"/>
              </a:rPr>
              <a:t> </a:t>
            </a:r>
            <a:r>
              <a:rPr lang="en-US" sz="2500" b="1" dirty="0" err="1">
                <a:solidFill>
                  <a:srgbClr val="E3007D"/>
                </a:solidFill>
                <a:latin typeface="Quicksand" pitchFamily="2" charset="0"/>
              </a:rPr>
              <a:t>Vergleich</a:t>
            </a:r>
            <a:r>
              <a:rPr lang="en-US" sz="2500" b="1" dirty="0">
                <a:solidFill>
                  <a:srgbClr val="E3007D"/>
                </a:solidFill>
                <a:latin typeface="Quicksand" pitchFamily="2" charset="0"/>
              </a:rPr>
              <a:t> mit </a:t>
            </a:r>
            <a:r>
              <a:rPr lang="en-US" sz="2500" b="1" dirty="0" err="1">
                <a:solidFill>
                  <a:srgbClr val="E3007D"/>
                </a:solidFill>
                <a:latin typeface="Quicksand" pitchFamily="2" charset="0"/>
              </a:rPr>
              <a:t>einem</a:t>
            </a:r>
            <a:r>
              <a:rPr lang="en-US" sz="2500" b="1" dirty="0">
                <a:solidFill>
                  <a:srgbClr val="E3007D"/>
                </a:solidFill>
                <a:latin typeface="Quicksand" pitchFamily="2" charset="0"/>
              </a:rPr>
              <a:t> </a:t>
            </a:r>
            <a:r>
              <a:rPr lang="en-US" sz="2500" b="1" dirty="0" err="1">
                <a:solidFill>
                  <a:srgbClr val="E3007D"/>
                </a:solidFill>
                <a:latin typeface="Quicksand" pitchFamily="2" charset="0"/>
              </a:rPr>
              <a:t>Szenario</a:t>
            </a:r>
            <a:r>
              <a:rPr lang="en-US" sz="2500" b="1" dirty="0">
                <a:solidFill>
                  <a:srgbClr val="E3007D"/>
                </a:solidFill>
                <a:latin typeface="Quicksand" pitchFamily="2" charset="0"/>
              </a:rPr>
              <a:t>, in dem ab </a:t>
            </a:r>
            <a:r>
              <a:rPr lang="en-US" sz="2500" b="1" dirty="0" err="1">
                <a:solidFill>
                  <a:srgbClr val="E3007D"/>
                </a:solidFill>
                <a:latin typeface="Quicksand" pitchFamily="2" charset="0"/>
              </a:rPr>
              <a:t>jetzt</a:t>
            </a:r>
            <a:r>
              <a:rPr lang="en-US" sz="2500" b="1" dirty="0">
                <a:solidFill>
                  <a:srgbClr val="E3007D"/>
                </a:solidFill>
                <a:latin typeface="Quicksand" pitchFamily="2" charset="0"/>
              </a:rPr>
              <a:t> KEIN </a:t>
            </a:r>
            <a:r>
              <a:rPr lang="en-US" sz="2500" b="1" dirty="0" err="1">
                <a:solidFill>
                  <a:srgbClr val="E3007D"/>
                </a:solidFill>
                <a:latin typeface="Quicksand" pitchFamily="2" charset="0"/>
              </a:rPr>
              <a:t>weiterer</a:t>
            </a:r>
            <a:r>
              <a:rPr lang="en-US" sz="2500" b="1" dirty="0">
                <a:solidFill>
                  <a:srgbClr val="E3007D"/>
                </a:solidFill>
                <a:latin typeface="Quicksand" pitchFamily="2" charset="0"/>
              </a:rPr>
              <a:t> </a:t>
            </a:r>
            <a:r>
              <a:rPr lang="en-US" sz="2500" b="1" dirty="0" err="1">
                <a:solidFill>
                  <a:srgbClr val="E3007D"/>
                </a:solidFill>
                <a:latin typeface="Quicksand" pitchFamily="2" charset="0"/>
              </a:rPr>
              <a:t>Speicherzubau</a:t>
            </a:r>
            <a:r>
              <a:rPr lang="en-US" sz="2500" b="1" dirty="0">
                <a:solidFill>
                  <a:srgbClr val="E3007D"/>
                </a:solidFill>
                <a:latin typeface="Quicksand" pitchFamily="2" charset="0"/>
              </a:rPr>
              <a:t> </a:t>
            </a:r>
            <a:r>
              <a:rPr lang="en-US" sz="2500" b="1" dirty="0" err="1">
                <a:solidFill>
                  <a:srgbClr val="E3007D"/>
                </a:solidFill>
                <a:latin typeface="Quicksand" pitchFamily="2" charset="0"/>
              </a:rPr>
              <a:t>erfolgt</a:t>
            </a:r>
            <a:endParaRPr lang="en-US" sz="2500" b="1" dirty="0">
              <a:solidFill>
                <a:schemeClr val="tx1"/>
              </a:solidFill>
              <a:latin typeface="Quicksand" pitchFamily="2" charset="0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  <p:sp>
        <p:nvSpPr>
          <p:cNvPr id="3" name="TextBox 129">
            <a:extLst>
              <a:ext uri="{FF2B5EF4-FFF2-40B4-BE49-F238E27FC236}">
                <a16:creationId xmlns:a16="http://schemas.microsoft.com/office/drawing/2014/main" id="{9ECEEDE2-5FB6-7EDE-2D08-0A0B1A503E5D}"/>
              </a:ext>
            </a:extLst>
          </p:cNvPr>
          <p:cNvSpPr txBox="1"/>
          <p:nvPr/>
        </p:nvSpPr>
        <p:spPr>
          <a:xfrm>
            <a:off x="1136650" y="2910417"/>
            <a:ext cx="17830800" cy="320145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r>
              <a:rPr lang="en-US" sz="3500" b="1" dirty="0">
                <a:solidFill>
                  <a:srgbClr val="E3007D"/>
                </a:solidFill>
                <a:latin typeface="Quicksand" pitchFamily="2" charset="0"/>
              </a:rPr>
              <a:t>Motivation</a:t>
            </a:r>
          </a:p>
          <a:p>
            <a:pPr marL="355600" indent="-285750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Quantifizierung</a:t>
            </a: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 des </a:t>
            </a: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Nutzens</a:t>
            </a: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 von </a:t>
            </a: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Batterien</a:t>
            </a:r>
            <a:endParaRPr lang="en-US" sz="2500" b="1" dirty="0">
              <a:solidFill>
                <a:schemeClr val="tx1"/>
              </a:solidFill>
              <a:latin typeface="Quicksand" pitchFamily="2" charset="0"/>
            </a:endParaRPr>
          </a:p>
          <a:p>
            <a:pPr marL="1439863" lvl="4" indent="-63500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Volatilität</a:t>
            </a:r>
            <a:endParaRPr lang="en-US" sz="2500" b="1" dirty="0">
              <a:solidFill>
                <a:schemeClr val="tx1"/>
              </a:solidFill>
              <a:latin typeface="Quicksand" pitchFamily="2" charset="0"/>
            </a:endParaRPr>
          </a:p>
          <a:p>
            <a:pPr marL="1439863" lvl="4" indent="-63500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Stromkosten</a:t>
            </a: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 (</a:t>
            </a: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Großhandel</a:t>
            </a: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 und </a:t>
            </a: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Endverbraucher</a:t>
            </a: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)</a:t>
            </a:r>
          </a:p>
          <a:p>
            <a:pPr marL="1439863" lvl="4" indent="-63500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Allgemeiner</a:t>
            </a: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 </a:t>
            </a: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volkswirtschaftlicher</a:t>
            </a: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 </a:t>
            </a: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Nutzen</a:t>
            </a:r>
            <a:endParaRPr lang="en-US" sz="2500" b="1" dirty="0">
              <a:solidFill>
                <a:schemeClr val="tx1"/>
              </a:solidFill>
              <a:latin typeface="Quicksand" pitchFamily="2" charset="0"/>
            </a:endParaRPr>
          </a:p>
          <a:p>
            <a:pPr marL="355600" indent="-285750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Grundlage</a:t>
            </a: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 für </a:t>
            </a: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eine</a:t>
            </a: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 </a:t>
            </a: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entsprechende</a:t>
            </a:r>
            <a:r>
              <a:rPr lang="en-US" sz="2500" b="1" dirty="0">
                <a:solidFill>
                  <a:schemeClr val="tx1"/>
                </a:solidFill>
                <a:latin typeface="Quicksand" pitchFamily="2" charset="0"/>
              </a:rPr>
              <a:t> </a:t>
            </a:r>
            <a:r>
              <a:rPr lang="en-US" sz="2500" b="1" dirty="0" err="1">
                <a:solidFill>
                  <a:schemeClr val="tx1"/>
                </a:solidFill>
                <a:latin typeface="Quicksand" pitchFamily="2" charset="0"/>
              </a:rPr>
              <a:t>Diskussion</a:t>
            </a:r>
            <a:endParaRPr lang="en-US" sz="2500" b="1" dirty="0">
              <a:solidFill>
                <a:schemeClr val="tx1"/>
              </a:solidFill>
              <a:latin typeface="Quicksand" pitchFamily="2" charset="0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60629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129">
            <a:extLst>
              <a:ext uri="{FF2B5EF4-FFF2-40B4-BE49-F238E27FC236}">
                <a16:creationId xmlns:a16="http://schemas.microsoft.com/office/drawing/2014/main" id="{D19FC06A-D531-6B05-CE9C-D6B533F32FCC}"/>
              </a:ext>
            </a:extLst>
          </p:cNvPr>
          <p:cNvSpPr txBox="1"/>
          <p:nvPr/>
        </p:nvSpPr>
        <p:spPr>
          <a:xfrm>
            <a:off x="1130300" y="3692289"/>
            <a:ext cx="10521950" cy="4874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9850" algn="ctr" rtl="0">
              <a:buClr>
                <a:schemeClr val="lt1"/>
              </a:buClr>
              <a:buSzPts val="3200"/>
            </a:pPr>
            <a:r>
              <a:rPr lang="en-GB" sz="3000" b="1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2030: 15GW/57 GWh                 2050: 61GW/271 GWh</a:t>
            </a:r>
          </a:p>
          <a:p>
            <a:pPr marL="69850" algn="ctr" rtl="0">
              <a:buClr>
                <a:schemeClr val="lt1"/>
              </a:buClr>
              <a:buSzPts val="3200"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051B5648-5001-9CB6-F77C-EB83C3AC67A3}"/>
              </a:ext>
            </a:extLst>
          </p:cNvPr>
          <p:cNvSpPr/>
          <p:nvPr/>
        </p:nvSpPr>
        <p:spPr>
          <a:xfrm>
            <a:off x="1103782" y="2378075"/>
            <a:ext cx="17830800" cy="763873"/>
          </a:xfrm>
          <a:prstGeom prst="roundRect">
            <a:avLst/>
          </a:prstGeom>
          <a:solidFill>
            <a:srgbClr val="41009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 dirty="0"/>
          </a:p>
        </p:txBody>
      </p:sp>
      <p:pic>
        <p:nvPicPr>
          <p:cNvPr id="11" name="Picture 10" descr="A picture containing light, night, night sky&#10;&#10;Description automatically generated">
            <a:extLst>
              <a:ext uri="{FF2B5EF4-FFF2-40B4-BE49-F238E27FC236}">
                <a16:creationId xmlns:a16="http://schemas.microsoft.com/office/drawing/2014/main" id="{D3DA728B-9B72-FDD9-72B6-E5315F8EAB2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38" r="491"/>
          <a:stretch/>
        </p:blipFill>
        <p:spPr>
          <a:xfrm flipH="1">
            <a:off x="-5421" y="0"/>
            <a:ext cx="20109520" cy="1844675"/>
          </a:xfrm>
          <a:prstGeom prst="rect">
            <a:avLst/>
          </a:prstGeom>
        </p:spPr>
      </p:pic>
      <p:sp>
        <p:nvSpPr>
          <p:cNvPr id="4" name="object 22">
            <a:extLst>
              <a:ext uri="{FF2B5EF4-FFF2-40B4-BE49-F238E27FC236}">
                <a16:creationId xmlns:a16="http://schemas.microsoft.com/office/drawing/2014/main" id="{B89EF71F-41AB-AE0D-417A-3431E5E64E8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06631" y="510844"/>
            <a:ext cx="14689019" cy="646331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de-DE" dirty="0">
                <a:solidFill>
                  <a:srgbClr val="E3007D"/>
                </a:solidFill>
              </a:rPr>
              <a:t>Zentrale Ergebnisse I/II</a:t>
            </a:r>
            <a:endParaRPr dirty="0">
              <a:solidFill>
                <a:srgbClr val="E3007D"/>
              </a:solidFill>
            </a:endParaRPr>
          </a:p>
        </p:txBody>
      </p:sp>
      <p:sp>
        <p:nvSpPr>
          <p:cNvPr id="7" name="object 23">
            <a:extLst>
              <a:ext uri="{FF2B5EF4-FFF2-40B4-BE49-F238E27FC236}">
                <a16:creationId xmlns:a16="http://schemas.microsoft.com/office/drawing/2014/main" id="{FD63E5A7-22B9-729B-BFA2-808C1FF31B53}"/>
              </a:ext>
            </a:extLst>
          </p:cNvPr>
          <p:cNvSpPr/>
          <p:nvPr/>
        </p:nvSpPr>
        <p:spPr>
          <a:xfrm>
            <a:off x="837670" y="523544"/>
            <a:ext cx="157480" cy="1151890"/>
          </a:xfrm>
          <a:custGeom>
            <a:avLst/>
            <a:gdLst/>
            <a:ahLst/>
            <a:cxnLst/>
            <a:rect l="l" t="t" r="r" b="b"/>
            <a:pathLst>
              <a:path w="157480" h="1151889">
                <a:moveTo>
                  <a:pt x="0" y="1151797"/>
                </a:moveTo>
                <a:lnTo>
                  <a:pt x="157063" y="1151797"/>
                </a:lnTo>
                <a:lnTo>
                  <a:pt x="157063" y="0"/>
                </a:lnTo>
                <a:lnTo>
                  <a:pt x="0" y="0"/>
                </a:lnTo>
                <a:lnTo>
                  <a:pt x="0" y="1151797"/>
                </a:lnTo>
                <a:close/>
              </a:path>
            </a:pathLst>
          </a:custGeom>
          <a:solidFill>
            <a:srgbClr val="E3007D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" name="TextBox 129">
            <a:extLst>
              <a:ext uri="{FF2B5EF4-FFF2-40B4-BE49-F238E27FC236}">
                <a16:creationId xmlns:a16="http://schemas.microsoft.com/office/drawing/2014/main" id="{819BD449-85B3-4780-BD00-AFEC8BEA0BD9}"/>
              </a:ext>
            </a:extLst>
          </p:cNvPr>
          <p:cNvSpPr txBox="1"/>
          <p:nvPr/>
        </p:nvSpPr>
        <p:spPr>
          <a:xfrm>
            <a:off x="1086348" y="2185751"/>
            <a:ext cx="17830800" cy="104301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  <a:p>
            <a:pPr marL="69850" algn="ctr" rtl="0">
              <a:buClr>
                <a:schemeClr val="lt1"/>
              </a:buClr>
              <a:buSzPts val="3200"/>
            </a:pPr>
            <a:r>
              <a:rPr lang="en-GB" sz="3500" b="1" spc="-10" dirty="0" err="1">
                <a:solidFill>
                  <a:schemeClr val="bg1"/>
                </a:solidFill>
                <a:latin typeface="Quicksand" pitchFamily="2" charset="0"/>
                <a:ea typeface="Segoe UI Black" panose="020B0A02040204020203" pitchFamily="34" charset="0"/>
                <a:sym typeface="Quicksand"/>
              </a:rPr>
              <a:t>Zubau</a:t>
            </a:r>
            <a:r>
              <a:rPr lang="en-GB" sz="3500" b="1" spc="-10" dirty="0">
                <a:solidFill>
                  <a:schemeClr val="bg1"/>
                </a:solidFill>
                <a:latin typeface="Quicksand" pitchFamily="2" charset="0"/>
                <a:ea typeface="Segoe UI Black" panose="020B0A02040204020203" pitchFamily="34" charset="0"/>
                <a:sym typeface="Quicksand"/>
              </a:rPr>
              <a:t> von </a:t>
            </a:r>
            <a:r>
              <a:rPr lang="en-GB" sz="3500" b="1" spc="-10" dirty="0" err="1">
                <a:solidFill>
                  <a:schemeClr val="bg1"/>
                </a:solidFill>
                <a:latin typeface="Quicksand" pitchFamily="2" charset="0"/>
                <a:ea typeface="Segoe UI Black" panose="020B0A02040204020203" pitchFamily="34" charset="0"/>
                <a:sym typeface="Quicksand"/>
              </a:rPr>
              <a:t>Großbatterien</a:t>
            </a:r>
            <a:r>
              <a:rPr lang="en-GB" sz="3500" b="1" spc="-10" dirty="0">
                <a:solidFill>
                  <a:schemeClr val="bg1"/>
                </a:solidFill>
                <a:latin typeface="Quicksand" pitchFamily="2" charset="0"/>
                <a:ea typeface="Segoe UI Black" panose="020B0A02040204020203" pitchFamily="34" charset="0"/>
                <a:sym typeface="Quicksand"/>
              </a:rPr>
              <a:t>:</a:t>
            </a: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  <p:sp>
        <p:nvSpPr>
          <p:cNvPr id="8" name="TextBox 129">
            <a:extLst>
              <a:ext uri="{FF2B5EF4-FFF2-40B4-BE49-F238E27FC236}">
                <a16:creationId xmlns:a16="http://schemas.microsoft.com/office/drawing/2014/main" id="{BB6FA52A-5966-36CF-FEE9-E56B46151737}"/>
              </a:ext>
            </a:extLst>
          </p:cNvPr>
          <p:cNvSpPr txBox="1"/>
          <p:nvPr/>
        </p:nvSpPr>
        <p:spPr>
          <a:xfrm>
            <a:off x="1168400" y="3218390"/>
            <a:ext cx="10369550" cy="5320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9850" algn="ctr" rtl="0">
              <a:buClr>
                <a:schemeClr val="lt1"/>
              </a:buClr>
              <a:buSzPts val="3200"/>
            </a:pPr>
            <a:r>
              <a:rPr lang="en-GB" sz="3000" b="1" spc="-10" dirty="0">
                <a:solidFill>
                  <a:schemeClr val="tx1"/>
                </a:solidFill>
                <a:latin typeface="Quicksand-SemiBold"/>
                <a:ea typeface="+mj-ea"/>
                <a:sym typeface="Quicksand"/>
              </a:rPr>
              <a:t>Frontier</a:t>
            </a:r>
          </a:p>
          <a:p>
            <a:pPr marL="69850" algn="ctr" rtl="0">
              <a:buClr>
                <a:schemeClr val="lt1"/>
              </a:buClr>
              <a:buSzPts val="3200"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A6EF87C-8AA4-FA77-B876-C3CC54F428AC}"/>
              </a:ext>
            </a:extLst>
          </p:cNvPr>
          <p:cNvCxnSpPr>
            <a:cxnSpLocks/>
          </p:cNvCxnSpPr>
          <p:nvPr/>
        </p:nvCxnSpPr>
        <p:spPr>
          <a:xfrm>
            <a:off x="11499850" y="3283633"/>
            <a:ext cx="0" cy="896128"/>
          </a:xfrm>
          <a:prstGeom prst="line">
            <a:avLst/>
          </a:prstGeom>
          <a:ln w="28575">
            <a:solidFill>
              <a:srgbClr val="4100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29">
            <a:extLst>
              <a:ext uri="{FF2B5EF4-FFF2-40B4-BE49-F238E27FC236}">
                <a16:creationId xmlns:a16="http://schemas.microsoft.com/office/drawing/2014/main" id="{D6A465C0-5E8F-4A94-1A56-6DEAF09F627B}"/>
              </a:ext>
            </a:extLst>
          </p:cNvPr>
          <p:cNvSpPr txBox="1"/>
          <p:nvPr/>
        </p:nvSpPr>
        <p:spPr>
          <a:xfrm>
            <a:off x="11658600" y="3318799"/>
            <a:ext cx="6346823" cy="9642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9850" algn="ctr" rtl="0">
              <a:buClr>
                <a:schemeClr val="lt1"/>
              </a:buClr>
              <a:buSzPts val="3200"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  <p:sp>
        <p:nvSpPr>
          <p:cNvPr id="17" name="TextBox 129">
            <a:extLst>
              <a:ext uri="{FF2B5EF4-FFF2-40B4-BE49-F238E27FC236}">
                <a16:creationId xmlns:a16="http://schemas.microsoft.com/office/drawing/2014/main" id="{338878F1-58B8-FB0C-359A-378147D1E49A}"/>
              </a:ext>
            </a:extLst>
          </p:cNvPr>
          <p:cNvSpPr txBox="1"/>
          <p:nvPr/>
        </p:nvSpPr>
        <p:spPr>
          <a:xfrm>
            <a:off x="11576050" y="3741104"/>
            <a:ext cx="7543800" cy="4874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9850" algn="ctr" rtl="0">
              <a:buClr>
                <a:schemeClr val="lt1"/>
              </a:buClr>
              <a:buSzPts val="3200"/>
            </a:pPr>
            <a:r>
              <a:rPr lang="en-GB" sz="3000" b="1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2037: 24GW/45GW (</a:t>
            </a:r>
            <a:r>
              <a:rPr lang="en-GB" sz="3000" b="1" spc="-10" dirty="0" err="1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Szenarioabhängig</a:t>
            </a:r>
            <a:r>
              <a:rPr lang="en-GB" sz="3000" b="1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)</a:t>
            </a: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  <p:sp>
        <p:nvSpPr>
          <p:cNvPr id="20" name="TextBox 129">
            <a:extLst>
              <a:ext uri="{FF2B5EF4-FFF2-40B4-BE49-F238E27FC236}">
                <a16:creationId xmlns:a16="http://schemas.microsoft.com/office/drawing/2014/main" id="{A98F8B58-C01C-04B2-EC56-FAEF4C292153}"/>
              </a:ext>
            </a:extLst>
          </p:cNvPr>
          <p:cNvSpPr txBox="1"/>
          <p:nvPr/>
        </p:nvSpPr>
        <p:spPr>
          <a:xfrm>
            <a:off x="11576050" y="3209061"/>
            <a:ext cx="7471420" cy="5320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9850" algn="ctr" rtl="0">
              <a:buClr>
                <a:schemeClr val="lt1"/>
              </a:buClr>
              <a:buSzPts val="3200"/>
            </a:pPr>
            <a:r>
              <a:rPr lang="en-GB" sz="3000" b="1" spc="-10" dirty="0" err="1">
                <a:solidFill>
                  <a:schemeClr val="tx1"/>
                </a:solidFill>
                <a:latin typeface="Quicksand-SemiBold"/>
                <a:ea typeface="+mj-ea"/>
                <a:sym typeface="Quicksand"/>
              </a:rPr>
              <a:t>geec</a:t>
            </a:r>
            <a:endParaRPr lang="en-GB" sz="3000" b="1" spc="-10" dirty="0">
              <a:solidFill>
                <a:schemeClr val="tx1"/>
              </a:solidFill>
              <a:latin typeface="Quicksand-SemiBold"/>
              <a:ea typeface="+mj-ea"/>
              <a:sym typeface="Quicksand"/>
            </a:endParaRPr>
          </a:p>
          <a:p>
            <a:pPr marL="69850" algn="ctr" rtl="0">
              <a:buClr>
                <a:schemeClr val="lt1"/>
              </a:buClr>
              <a:buSzPts val="3200"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0A4AAF5-8D16-4A0A-A11A-9DFF152C55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4850" y="4667476"/>
            <a:ext cx="9220200" cy="6231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9662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7C121F90-FF5E-A8C7-5BB7-BED6079AD353}"/>
              </a:ext>
            </a:extLst>
          </p:cNvPr>
          <p:cNvSpPr/>
          <p:nvPr/>
        </p:nvSpPr>
        <p:spPr>
          <a:xfrm>
            <a:off x="14884054" y="2399505"/>
            <a:ext cx="4044950" cy="822326"/>
          </a:xfrm>
          <a:prstGeom prst="roundRect">
            <a:avLst/>
          </a:prstGeom>
          <a:solidFill>
            <a:srgbClr val="41009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BD133D3D-29E5-5C82-25BF-873A8DC707B8}"/>
              </a:ext>
            </a:extLst>
          </p:cNvPr>
          <p:cNvSpPr/>
          <p:nvPr/>
        </p:nvSpPr>
        <p:spPr>
          <a:xfrm>
            <a:off x="1085502" y="2412220"/>
            <a:ext cx="13036552" cy="822326"/>
          </a:xfrm>
          <a:prstGeom prst="roundRect">
            <a:avLst/>
          </a:prstGeom>
          <a:solidFill>
            <a:srgbClr val="41009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pic>
        <p:nvPicPr>
          <p:cNvPr id="11" name="Picture 10" descr="A picture containing light, night, night sky&#10;&#10;Description automatically generated">
            <a:extLst>
              <a:ext uri="{FF2B5EF4-FFF2-40B4-BE49-F238E27FC236}">
                <a16:creationId xmlns:a16="http://schemas.microsoft.com/office/drawing/2014/main" id="{D3DA728B-9B72-FDD9-72B6-E5315F8EAB2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38" r="491"/>
          <a:stretch/>
        </p:blipFill>
        <p:spPr>
          <a:xfrm flipH="1">
            <a:off x="-5421" y="0"/>
            <a:ext cx="20109520" cy="1844675"/>
          </a:xfrm>
          <a:prstGeom prst="rect">
            <a:avLst/>
          </a:prstGeom>
        </p:spPr>
      </p:pic>
      <p:sp>
        <p:nvSpPr>
          <p:cNvPr id="4" name="object 22">
            <a:extLst>
              <a:ext uri="{FF2B5EF4-FFF2-40B4-BE49-F238E27FC236}">
                <a16:creationId xmlns:a16="http://schemas.microsoft.com/office/drawing/2014/main" id="{B89EF71F-41AB-AE0D-417A-3431E5E64E8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06631" y="510844"/>
            <a:ext cx="14689019" cy="646331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de-DE" dirty="0">
                <a:solidFill>
                  <a:srgbClr val="E3007D"/>
                </a:solidFill>
              </a:rPr>
              <a:t>Zentrale Ergebnisse II/II</a:t>
            </a:r>
            <a:endParaRPr dirty="0">
              <a:solidFill>
                <a:srgbClr val="E3007D"/>
              </a:solidFill>
            </a:endParaRPr>
          </a:p>
        </p:txBody>
      </p:sp>
      <p:sp>
        <p:nvSpPr>
          <p:cNvPr id="7" name="object 23">
            <a:extLst>
              <a:ext uri="{FF2B5EF4-FFF2-40B4-BE49-F238E27FC236}">
                <a16:creationId xmlns:a16="http://schemas.microsoft.com/office/drawing/2014/main" id="{FD63E5A7-22B9-729B-BFA2-808C1FF31B53}"/>
              </a:ext>
            </a:extLst>
          </p:cNvPr>
          <p:cNvSpPr/>
          <p:nvPr/>
        </p:nvSpPr>
        <p:spPr>
          <a:xfrm>
            <a:off x="837670" y="523544"/>
            <a:ext cx="157480" cy="1151890"/>
          </a:xfrm>
          <a:custGeom>
            <a:avLst/>
            <a:gdLst/>
            <a:ahLst/>
            <a:cxnLst/>
            <a:rect l="l" t="t" r="r" b="b"/>
            <a:pathLst>
              <a:path w="157480" h="1151889">
                <a:moveTo>
                  <a:pt x="0" y="1151797"/>
                </a:moveTo>
                <a:lnTo>
                  <a:pt x="157063" y="1151797"/>
                </a:lnTo>
                <a:lnTo>
                  <a:pt x="157063" y="0"/>
                </a:lnTo>
                <a:lnTo>
                  <a:pt x="0" y="0"/>
                </a:lnTo>
                <a:lnTo>
                  <a:pt x="0" y="1151797"/>
                </a:lnTo>
                <a:close/>
              </a:path>
            </a:pathLst>
          </a:custGeom>
          <a:solidFill>
            <a:srgbClr val="E3007D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0" name="TextBox 129">
            <a:extLst>
              <a:ext uri="{FF2B5EF4-FFF2-40B4-BE49-F238E27FC236}">
                <a16:creationId xmlns:a16="http://schemas.microsoft.com/office/drawing/2014/main" id="{E4ACBB56-1BA0-3234-06C4-72463F09CA15}"/>
              </a:ext>
            </a:extLst>
          </p:cNvPr>
          <p:cNvSpPr txBox="1"/>
          <p:nvPr/>
        </p:nvSpPr>
        <p:spPr>
          <a:xfrm>
            <a:off x="5640346" y="4072746"/>
            <a:ext cx="4817915" cy="67257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r>
              <a:rPr lang="en-GB" sz="3000" b="1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12 </a:t>
            </a:r>
            <a:r>
              <a:rPr lang="en-GB" sz="3000" b="1" spc="-10" dirty="0" err="1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Mrd</a:t>
            </a:r>
            <a:r>
              <a:rPr lang="en-GB" sz="3000" b="1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. € bis 2050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r>
              <a:rPr lang="en-GB" sz="3000" b="1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2030: 6,2 2050: 7,9  Mio. t</a:t>
            </a:r>
          </a:p>
          <a:p>
            <a:pPr marL="457200" marR="0" lvl="0" indent="-457200" algn="l" rtl="0">
              <a:spcBef>
                <a:spcPts val="0"/>
              </a:spcBef>
              <a:spcAft>
                <a:spcPts val="0"/>
              </a:spcAft>
              <a:buClr>
                <a:srgbClr val="E3007D"/>
              </a:buClr>
              <a:buSzPct val="100000"/>
              <a:buFont typeface="Arial" panose="020B0604020202020204" pitchFamily="34" charset="0"/>
              <a:buChar char="•"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rgbClr val="E3007D"/>
              </a:buClr>
              <a:buSzPct val="100000"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rgbClr val="E3007D"/>
              </a:buClr>
              <a:buSzPct val="100000"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rgbClr val="E3007D"/>
              </a:buClr>
              <a:buSzPct val="100000"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rgbClr val="E3007D"/>
              </a:buClr>
              <a:buSzPct val="100000"/>
            </a:pPr>
            <a:r>
              <a:rPr lang="en-GB" sz="3000" b="1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1,1 €/MWh </a:t>
            </a:r>
            <a:r>
              <a:rPr lang="en-GB" sz="3000" b="1" spc="-10" dirty="0" err="1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Endkunden</a:t>
            </a: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rgbClr val="E3007D"/>
              </a:buClr>
              <a:buSzPct val="100000"/>
            </a:pPr>
            <a:r>
              <a:rPr lang="en-GB" sz="3000" b="1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1.0 €/MWh </a:t>
            </a:r>
            <a:r>
              <a:rPr lang="en-GB" sz="3000" b="1" spc="-10" dirty="0" err="1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Großhandel</a:t>
            </a: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449263" marR="0" lvl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r>
              <a:rPr lang="en-GB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(</a:t>
            </a:r>
            <a:r>
              <a:rPr lang="en-GB" spc="-10" dirty="0" err="1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im</a:t>
            </a:r>
            <a:r>
              <a:rPr lang="en-GB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 </a:t>
            </a:r>
            <a:r>
              <a:rPr lang="en-GB" spc="-10" dirty="0" err="1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Schnitt</a:t>
            </a:r>
            <a:r>
              <a:rPr lang="en-GB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 </a:t>
            </a:r>
            <a:r>
              <a:rPr lang="en-GB" spc="-10" dirty="0" err="1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über</a:t>
            </a:r>
            <a:r>
              <a:rPr lang="en-GB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 </a:t>
            </a:r>
            <a:r>
              <a:rPr lang="en-GB" spc="-10" dirty="0" err="1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Betrachtungshorizont</a:t>
            </a:r>
            <a:r>
              <a:rPr lang="en-GB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)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0" marR="0" lvl="0" indent="0" algn="l" rtl="0">
              <a:spcBef>
                <a:spcPts val="120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r>
              <a:rPr lang="en-GB" sz="3000" b="1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9 GW (26 GW </a:t>
            </a:r>
            <a:r>
              <a:rPr lang="en-GB" sz="3000" b="1" spc="-10" dirty="0" err="1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noch</a:t>
            </a:r>
            <a:r>
              <a:rPr lang="en-GB" sz="3000" b="1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 </a:t>
            </a:r>
            <a:r>
              <a:rPr lang="en-GB" sz="3000" b="1" spc="-10" dirty="0" err="1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nötig</a:t>
            </a:r>
            <a:r>
              <a:rPr lang="en-GB" sz="3000" b="1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)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r>
              <a:rPr lang="en-GB" sz="3000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(2030)</a:t>
            </a: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A2E2125F-B7AA-4C89-D3C4-358985A699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99373" y="4461070"/>
            <a:ext cx="3829631" cy="2399964"/>
          </a:xfrm>
          <a:prstGeom prst="rect">
            <a:avLst/>
          </a:prstGeom>
        </p:spPr>
      </p:pic>
      <p:sp>
        <p:nvSpPr>
          <p:cNvPr id="3" name="TextBox 129">
            <a:extLst>
              <a:ext uri="{FF2B5EF4-FFF2-40B4-BE49-F238E27FC236}">
                <a16:creationId xmlns:a16="http://schemas.microsoft.com/office/drawing/2014/main" id="{2E73CEF5-0611-2338-908E-FB5277689805}"/>
              </a:ext>
            </a:extLst>
          </p:cNvPr>
          <p:cNvSpPr txBox="1"/>
          <p:nvPr/>
        </p:nvSpPr>
        <p:spPr>
          <a:xfrm>
            <a:off x="1175096" y="4020036"/>
            <a:ext cx="4533554" cy="669142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r>
              <a:rPr lang="en-GB" sz="3000" b="1" spc="-10" dirty="0" err="1">
                <a:solidFill>
                  <a:srgbClr val="410099"/>
                </a:solidFill>
                <a:latin typeface="Quicksand-SemiBold"/>
                <a:ea typeface="+mj-ea"/>
                <a:sym typeface="Quicksand"/>
              </a:rPr>
              <a:t>Einsparung</a:t>
            </a:r>
            <a:endParaRPr lang="en-GB" sz="3000" b="1" spc="-10" dirty="0">
              <a:solidFill>
                <a:srgbClr val="410099"/>
              </a:solidFill>
              <a:latin typeface="Quicksand-SemiBold"/>
              <a:ea typeface="+mj-ea"/>
              <a:sym typeface="Quicksand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r>
              <a:rPr lang="en-GB" sz="3000" b="1" spc="-10" dirty="0">
                <a:solidFill>
                  <a:srgbClr val="410099"/>
                </a:solidFill>
                <a:latin typeface="Quicksand-SemiBold"/>
                <a:ea typeface="+mj-ea"/>
                <a:sym typeface="Quicksand"/>
              </a:rPr>
              <a:t>CO2-Reduktion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endParaRPr lang="en-GB" sz="3000" b="1" spc="-10" dirty="0">
              <a:solidFill>
                <a:srgbClr val="410099"/>
              </a:solidFill>
              <a:latin typeface="Quicksand-SemiBold"/>
              <a:ea typeface="+mj-ea"/>
              <a:sym typeface="Quicksand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r>
              <a:rPr lang="en-GB" sz="3000" b="1" spc="-10" dirty="0" err="1">
                <a:solidFill>
                  <a:srgbClr val="410099"/>
                </a:solidFill>
                <a:latin typeface="Quicksand-SemiBold"/>
                <a:ea typeface="+mj-ea"/>
                <a:sym typeface="Quicksand"/>
              </a:rPr>
              <a:t>Senkung</a:t>
            </a:r>
            <a:r>
              <a:rPr lang="en-GB" sz="3000" b="1" spc="-10" dirty="0">
                <a:solidFill>
                  <a:srgbClr val="410099"/>
                </a:solidFill>
                <a:latin typeface="Quicksand-SemiBold"/>
                <a:ea typeface="+mj-ea"/>
                <a:sym typeface="Quicksand"/>
              </a:rPr>
              <a:t> </a:t>
            </a:r>
            <a:r>
              <a:rPr lang="en-GB" sz="3000" b="1" spc="-10" dirty="0" err="1">
                <a:solidFill>
                  <a:srgbClr val="410099"/>
                </a:solidFill>
                <a:latin typeface="Quicksand-SemiBold"/>
                <a:ea typeface="+mj-ea"/>
                <a:sym typeface="Quicksand"/>
              </a:rPr>
              <a:t>Förderbedarf</a:t>
            </a:r>
            <a:r>
              <a:rPr lang="en-GB" sz="3000" b="1" spc="-10" dirty="0">
                <a:solidFill>
                  <a:srgbClr val="410099"/>
                </a:solidFill>
                <a:latin typeface="Quicksand-SemiBold"/>
                <a:ea typeface="+mj-ea"/>
                <a:sym typeface="Quicksand"/>
              </a:rPr>
              <a:t> EE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r>
              <a:rPr lang="en-GB" sz="3000" b="1" spc="-10" dirty="0" err="1">
                <a:solidFill>
                  <a:srgbClr val="410099"/>
                </a:solidFill>
                <a:latin typeface="Quicksand-SemiBold"/>
                <a:ea typeface="+mj-ea"/>
                <a:sym typeface="Quicksand"/>
              </a:rPr>
              <a:t>Preissenkung</a:t>
            </a:r>
            <a:endParaRPr lang="en-GB" sz="3000" b="1" spc="-10" dirty="0">
              <a:solidFill>
                <a:srgbClr val="410099"/>
              </a:solidFill>
              <a:latin typeface="Quicksand-SemiBold"/>
              <a:ea typeface="+mj-ea"/>
              <a:sym typeface="Quicksand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endParaRPr lang="en-GB" sz="3000" b="1" spc="-10" dirty="0">
              <a:solidFill>
                <a:srgbClr val="410099"/>
              </a:solidFill>
              <a:latin typeface="Quicksand-SemiBold"/>
              <a:ea typeface="+mj-ea"/>
              <a:sym typeface="Quicksand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r>
              <a:rPr lang="en-GB" sz="3000" b="1" spc="-10" dirty="0" err="1">
                <a:solidFill>
                  <a:srgbClr val="410099"/>
                </a:solidFill>
                <a:latin typeface="Quicksand-SemiBold"/>
                <a:ea typeface="+mj-ea"/>
                <a:sym typeface="Quicksand"/>
              </a:rPr>
              <a:t>Reduktion</a:t>
            </a:r>
            <a:r>
              <a:rPr lang="en-GB" sz="3000" b="1" spc="-10" dirty="0">
                <a:solidFill>
                  <a:srgbClr val="410099"/>
                </a:solidFill>
                <a:latin typeface="Quicksand-SemiBold"/>
                <a:ea typeface="+mj-ea"/>
                <a:sym typeface="Quicksand"/>
              </a:rPr>
              <a:t> </a:t>
            </a:r>
            <a:r>
              <a:rPr lang="en-GB" sz="3000" b="1" spc="-10" dirty="0" err="1">
                <a:solidFill>
                  <a:srgbClr val="410099"/>
                </a:solidFill>
                <a:latin typeface="Quicksand-SemiBold"/>
                <a:ea typeface="+mj-ea"/>
                <a:sym typeface="Quicksand"/>
              </a:rPr>
              <a:t>Kraftwerksausbau</a:t>
            </a:r>
            <a:endParaRPr lang="en-GB" sz="3000" b="1" spc="-10" dirty="0">
              <a:solidFill>
                <a:srgbClr val="410099"/>
              </a:solidFill>
              <a:latin typeface="Quicksand-SemiBold"/>
              <a:ea typeface="+mj-ea"/>
              <a:sym typeface="Quicksand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  <p:sp>
        <p:nvSpPr>
          <p:cNvPr id="18" name="TextBox 129">
            <a:extLst>
              <a:ext uri="{FF2B5EF4-FFF2-40B4-BE49-F238E27FC236}">
                <a16:creationId xmlns:a16="http://schemas.microsoft.com/office/drawing/2014/main" id="{74855A0C-982F-7225-6D26-95204CF89DF2}"/>
              </a:ext>
            </a:extLst>
          </p:cNvPr>
          <p:cNvSpPr txBox="1"/>
          <p:nvPr/>
        </p:nvSpPr>
        <p:spPr>
          <a:xfrm>
            <a:off x="918604" y="2301875"/>
            <a:ext cx="13203450" cy="9445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  <a:p>
            <a:pPr marL="69850" algn="ctr" rtl="0">
              <a:buClr>
                <a:schemeClr val="lt1"/>
              </a:buClr>
              <a:buSzPts val="3200"/>
            </a:pPr>
            <a:r>
              <a:rPr lang="en-GB" sz="3500" b="1" spc="-10" dirty="0" err="1">
                <a:solidFill>
                  <a:schemeClr val="bg1"/>
                </a:solidFill>
                <a:latin typeface="Quicksand" pitchFamily="2" charset="0"/>
                <a:ea typeface="Segoe UI Black" panose="020B0A02040204020203" pitchFamily="34" charset="0"/>
                <a:sym typeface="Quicksand"/>
              </a:rPr>
              <a:t>Volkswirtschaftlicher</a:t>
            </a:r>
            <a:r>
              <a:rPr lang="en-GB" sz="3500" b="1" spc="-10" dirty="0">
                <a:solidFill>
                  <a:schemeClr val="bg1"/>
                </a:solidFill>
                <a:latin typeface="Quicksand" pitchFamily="2" charset="0"/>
                <a:ea typeface="Segoe UI Black" panose="020B0A02040204020203" pitchFamily="34" charset="0"/>
                <a:sym typeface="Quicksand"/>
              </a:rPr>
              <a:t> </a:t>
            </a:r>
            <a:r>
              <a:rPr lang="en-GB" sz="3500" b="1" spc="-10" dirty="0" err="1">
                <a:solidFill>
                  <a:schemeClr val="bg1"/>
                </a:solidFill>
                <a:latin typeface="Quicksand" pitchFamily="2" charset="0"/>
                <a:ea typeface="Segoe UI Black" panose="020B0A02040204020203" pitchFamily="34" charset="0"/>
                <a:sym typeface="Quicksand"/>
              </a:rPr>
              <a:t>Nutzen</a:t>
            </a:r>
            <a:endParaRPr lang="en-GB" sz="3500" b="1" spc="-10" dirty="0">
              <a:solidFill>
                <a:schemeClr val="bg1"/>
              </a:solidFill>
              <a:latin typeface="Quicksand" pitchFamily="2" charset="0"/>
              <a:ea typeface="Segoe UI Black" panose="020B0A02040204020203" pitchFamily="34" charset="0"/>
              <a:sym typeface="Quicksand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  <p:sp>
        <p:nvSpPr>
          <p:cNvPr id="19" name="TextBox 129">
            <a:extLst>
              <a:ext uri="{FF2B5EF4-FFF2-40B4-BE49-F238E27FC236}">
                <a16:creationId xmlns:a16="http://schemas.microsoft.com/office/drawing/2014/main" id="{BCEB7FD9-EE35-CFC5-2FDE-CD6F2F59085C}"/>
              </a:ext>
            </a:extLst>
          </p:cNvPr>
          <p:cNvSpPr txBox="1"/>
          <p:nvPr/>
        </p:nvSpPr>
        <p:spPr>
          <a:xfrm>
            <a:off x="14884054" y="2301876"/>
            <a:ext cx="4044950" cy="9445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  <a:p>
            <a:pPr marL="69850" algn="ctr" rtl="0">
              <a:buClr>
                <a:schemeClr val="lt1"/>
              </a:buClr>
              <a:buSzPts val="3200"/>
            </a:pPr>
            <a:r>
              <a:rPr lang="en-GB" sz="3500" b="1" spc="-10" dirty="0" err="1">
                <a:solidFill>
                  <a:schemeClr val="bg1"/>
                </a:solidFill>
                <a:latin typeface="Quicksand" pitchFamily="2" charset="0"/>
                <a:ea typeface="Segoe UI Black" panose="020B0A02040204020203" pitchFamily="34" charset="0"/>
                <a:sym typeface="Quicksand"/>
              </a:rPr>
              <a:t>Volatilität</a:t>
            </a:r>
            <a:endParaRPr lang="en-GB" sz="3500" b="1" spc="-10" dirty="0">
              <a:solidFill>
                <a:schemeClr val="bg1"/>
              </a:solidFill>
              <a:latin typeface="Quicksand" pitchFamily="2" charset="0"/>
              <a:ea typeface="Segoe UI Black" panose="020B0A02040204020203" pitchFamily="34" charset="0"/>
              <a:sym typeface="Quicksand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  <p:sp>
        <p:nvSpPr>
          <p:cNvPr id="5" name="TextBox 129">
            <a:extLst>
              <a:ext uri="{FF2B5EF4-FFF2-40B4-BE49-F238E27FC236}">
                <a16:creationId xmlns:a16="http://schemas.microsoft.com/office/drawing/2014/main" id="{3B6507D1-C74A-A14A-18D3-67BA8AA28726}"/>
              </a:ext>
            </a:extLst>
          </p:cNvPr>
          <p:cNvSpPr txBox="1"/>
          <p:nvPr/>
        </p:nvSpPr>
        <p:spPr>
          <a:xfrm>
            <a:off x="10657009" y="4072746"/>
            <a:ext cx="4121352" cy="582702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r>
              <a:rPr lang="en-GB" sz="3000" b="1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6,3 Mio. t CO2 in 2037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rgbClr val="E3007D"/>
              </a:buClr>
              <a:buSzPct val="100000"/>
            </a:pPr>
            <a:r>
              <a:rPr lang="en-GB" sz="3000" b="1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3 </a:t>
            </a:r>
            <a:r>
              <a:rPr lang="en-GB" sz="3000" b="1" spc="-10" dirty="0" err="1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Mrd</a:t>
            </a:r>
            <a:r>
              <a:rPr lang="en-GB" sz="3000" b="1" spc="-10" dirty="0">
                <a:solidFill>
                  <a:srgbClr val="E3007D"/>
                </a:solidFill>
                <a:latin typeface="Quicksand-SemiBold"/>
                <a:ea typeface="+mj-ea"/>
                <a:sym typeface="Quicksand"/>
              </a:rPr>
              <a:t>. in 2037</a:t>
            </a:r>
          </a:p>
          <a:p>
            <a:pPr marL="457200" marR="0" lvl="0" indent="-457200" algn="l" rtl="0">
              <a:spcBef>
                <a:spcPts val="0"/>
              </a:spcBef>
              <a:spcAft>
                <a:spcPts val="0"/>
              </a:spcAft>
              <a:buClr>
                <a:srgbClr val="E3007D"/>
              </a:buClr>
              <a:buSzPct val="100000"/>
              <a:buFont typeface="Arial" panose="020B0604020202020204" pitchFamily="34" charset="0"/>
              <a:buChar char="•"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3A3838"/>
              </a:buClr>
              <a:buSzPts val="1600"/>
              <a:buFont typeface="Arial"/>
              <a:buNone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r>
              <a:rPr lang="en-US" sz="3000" b="1" spc="-10" dirty="0">
                <a:solidFill>
                  <a:srgbClr val="E3007D"/>
                </a:solidFill>
                <a:latin typeface="Quicksand-SemiBold"/>
                <a:ea typeface="+mj-ea"/>
              </a:rPr>
              <a:t>-</a:t>
            </a: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sz="3000" b="1" spc="-10" dirty="0">
              <a:solidFill>
                <a:srgbClr val="E3007D"/>
              </a:solidFill>
              <a:latin typeface="Quicksand-SemiBold"/>
              <a:ea typeface="+mj-ea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sz="3000" b="1" spc="-10" dirty="0">
              <a:solidFill>
                <a:srgbClr val="E3007D"/>
              </a:solidFill>
              <a:latin typeface="Quicksand-SemiBold"/>
              <a:ea typeface="+mj-ea"/>
            </a:endParaRPr>
          </a:p>
          <a:p>
            <a:pPr marL="69850">
              <a:buClr>
                <a:schemeClr val="lt1"/>
              </a:buClr>
              <a:buSzPts val="3200"/>
            </a:pPr>
            <a:r>
              <a:rPr lang="en-US" sz="3000" b="1" spc="-10" dirty="0">
                <a:solidFill>
                  <a:srgbClr val="E3007D"/>
                </a:solidFill>
                <a:latin typeface="Quicksand-SemiBold"/>
                <a:ea typeface="+mj-ea"/>
              </a:rPr>
              <a:t>- </a:t>
            </a: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r>
              <a:rPr lang="en-US" sz="3000" b="1" spc="-10" dirty="0">
                <a:solidFill>
                  <a:srgbClr val="E3007D"/>
                </a:solidFill>
                <a:latin typeface="Quicksand-SemiBold"/>
                <a:ea typeface="+mj-ea"/>
              </a:rPr>
              <a:t> </a:t>
            </a:r>
          </a:p>
        </p:txBody>
      </p:sp>
      <p:sp>
        <p:nvSpPr>
          <p:cNvPr id="16" name="TextBox 129">
            <a:extLst>
              <a:ext uri="{FF2B5EF4-FFF2-40B4-BE49-F238E27FC236}">
                <a16:creationId xmlns:a16="http://schemas.microsoft.com/office/drawing/2014/main" id="{D6A465C0-5E8F-4A94-1A56-6DEAF09F627B}"/>
              </a:ext>
            </a:extLst>
          </p:cNvPr>
          <p:cNvSpPr txBox="1"/>
          <p:nvPr/>
        </p:nvSpPr>
        <p:spPr>
          <a:xfrm>
            <a:off x="11658600" y="2870441"/>
            <a:ext cx="6346823" cy="9642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9850" algn="ctr" rtl="0">
              <a:buClr>
                <a:schemeClr val="lt1"/>
              </a:buClr>
              <a:buSzPts val="3200"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  <p:sp>
        <p:nvSpPr>
          <p:cNvPr id="21" name="TextBox 129">
            <a:extLst>
              <a:ext uri="{FF2B5EF4-FFF2-40B4-BE49-F238E27FC236}">
                <a16:creationId xmlns:a16="http://schemas.microsoft.com/office/drawing/2014/main" id="{2A512EC9-1779-593D-3A17-7D41C1067BD4}"/>
              </a:ext>
            </a:extLst>
          </p:cNvPr>
          <p:cNvSpPr txBox="1"/>
          <p:nvPr/>
        </p:nvSpPr>
        <p:spPr>
          <a:xfrm>
            <a:off x="6082401" y="3568696"/>
            <a:ext cx="3490702" cy="5320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9850" algn="ctr" rtl="0">
              <a:buClr>
                <a:schemeClr val="lt1"/>
              </a:buClr>
              <a:buSzPts val="3200"/>
            </a:pPr>
            <a:r>
              <a:rPr lang="en-GB" sz="3000" b="1" spc="-10" dirty="0">
                <a:solidFill>
                  <a:schemeClr val="tx1"/>
                </a:solidFill>
                <a:latin typeface="Quicksand-SemiBold"/>
                <a:ea typeface="+mj-ea"/>
                <a:sym typeface="Quicksand"/>
              </a:rPr>
              <a:t>Frontier</a:t>
            </a:r>
          </a:p>
          <a:p>
            <a:pPr marL="69850" algn="ctr" rtl="0">
              <a:buClr>
                <a:schemeClr val="lt1"/>
              </a:buClr>
              <a:buSzPts val="3200"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  <p:sp>
        <p:nvSpPr>
          <p:cNvPr id="22" name="TextBox 129">
            <a:extLst>
              <a:ext uri="{FF2B5EF4-FFF2-40B4-BE49-F238E27FC236}">
                <a16:creationId xmlns:a16="http://schemas.microsoft.com/office/drawing/2014/main" id="{50012C84-0107-F532-346A-4F71D0C8B685}"/>
              </a:ext>
            </a:extLst>
          </p:cNvPr>
          <p:cNvSpPr txBox="1"/>
          <p:nvPr/>
        </p:nvSpPr>
        <p:spPr>
          <a:xfrm>
            <a:off x="10608750" y="3598807"/>
            <a:ext cx="3490702" cy="5320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9850" algn="ctr" rtl="0">
              <a:buClr>
                <a:schemeClr val="lt1"/>
              </a:buClr>
              <a:buSzPts val="3200"/>
            </a:pPr>
            <a:r>
              <a:rPr lang="en-GB" sz="3000" b="1" spc="-10" dirty="0" err="1">
                <a:solidFill>
                  <a:schemeClr val="tx1"/>
                </a:solidFill>
                <a:latin typeface="Quicksand-SemiBold"/>
                <a:ea typeface="+mj-ea"/>
                <a:sym typeface="Quicksand"/>
              </a:rPr>
              <a:t>geec</a:t>
            </a:r>
            <a:endParaRPr lang="en-GB" sz="3000" b="1" spc="-10" dirty="0">
              <a:solidFill>
                <a:schemeClr val="tx1"/>
              </a:solidFill>
              <a:latin typeface="Quicksand-SemiBold"/>
              <a:ea typeface="+mj-ea"/>
              <a:sym typeface="Quicksand"/>
            </a:endParaRPr>
          </a:p>
          <a:p>
            <a:pPr marL="69850" algn="ctr" rtl="0">
              <a:buClr>
                <a:schemeClr val="lt1"/>
              </a:buClr>
              <a:buSzPts val="3200"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  <p:sp>
        <p:nvSpPr>
          <p:cNvPr id="23" name="TextBox 129">
            <a:extLst>
              <a:ext uri="{FF2B5EF4-FFF2-40B4-BE49-F238E27FC236}">
                <a16:creationId xmlns:a16="http://schemas.microsoft.com/office/drawing/2014/main" id="{56B5A775-0D52-C621-A4D7-9858A683235A}"/>
              </a:ext>
            </a:extLst>
          </p:cNvPr>
          <p:cNvSpPr txBox="1"/>
          <p:nvPr/>
        </p:nvSpPr>
        <p:spPr>
          <a:xfrm>
            <a:off x="14928850" y="3754015"/>
            <a:ext cx="3490702" cy="53204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69850" algn="ctr" rtl="0">
              <a:buClr>
                <a:schemeClr val="lt1"/>
              </a:buClr>
              <a:buSzPts val="3200"/>
            </a:pPr>
            <a:r>
              <a:rPr lang="en-GB" sz="3000" b="1" spc="-10" dirty="0">
                <a:solidFill>
                  <a:schemeClr val="tx1"/>
                </a:solidFill>
                <a:latin typeface="Quicksand-SemiBold"/>
                <a:ea typeface="+mj-ea"/>
                <a:sym typeface="Quicksand"/>
              </a:rPr>
              <a:t>Frontier</a:t>
            </a:r>
          </a:p>
          <a:p>
            <a:pPr marL="69850" algn="ctr" rtl="0">
              <a:buClr>
                <a:schemeClr val="lt1"/>
              </a:buClr>
              <a:buSzPts val="3200"/>
            </a:pPr>
            <a:endParaRPr lang="en-GB" sz="3000" b="1" spc="-10" dirty="0">
              <a:solidFill>
                <a:srgbClr val="E3007D"/>
              </a:solidFill>
              <a:latin typeface="Quicksand-SemiBold"/>
              <a:ea typeface="+mj-ea"/>
              <a:sym typeface="Quicksand"/>
            </a:endParaRPr>
          </a:p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6122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icture containing light, night, night sky&#10;&#10;Description automatically generated">
            <a:extLst>
              <a:ext uri="{FF2B5EF4-FFF2-40B4-BE49-F238E27FC236}">
                <a16:creationId xmlns:a16="http://schemas.microsoft.com/office/drawing/2014/main" id="{D3DA728B-9B72-FDD9-72B6-E5315F8EAB2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738" r="491"/>
          <a:stretch/>
        </p:blipFill>
        <p:spPr>
          <a:xfrm flipH="1">
            <a:off x="-5421" y="0"/>
            <a:ext cx="20109520" cy="1844675"/>
          </a:xfrm>
          <a:prstGeom prst="rect">
            <a:avLst/>
          </a:prstGeom>
        </p:spPr>
      </p:pic>
      <p:sp>
        <p:nvSpPr>
          <p:cNvPr id="4" name="object 22">
            <a:extLst>
              <a:ext uri="{FF2B5EF4-FFF2-40B4-BE49-F238E27FC236}">
                <a16:creationId xmlns:a16="http://schemas.microsoft.com/office/drawing/2014/main" id="{B89EF71F-41AB-AE0D-417A-3431E5E64E8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06631" y="510844"/>
            <a:ext cx="14689019" cy="646331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de-DE" dirty="0">
                <a:solidFill>
                  <a:srgbClr val="E3007D"/>
                </a:solidFill>
              </a:rPr>
              <a:t>Info - Backup</a:t>
            </a:r>
            <a:endParaRPr dirty="0">
              <a:solidFill>
                <a:srgbClr val="E3007D"/>
              </a:solidFill>
            </a:endParaRPr>
          </a:p>
        </p:txBody>
      </p:sp>
      <p:sp>
        <p:nvSpPr>
          <p:cNvPr id="7" name="object 23">
            <a:extLst>
              <a:ext uri="{FF2B5EF4-FFF2-40B4-BE49-F238E27FC236}">
                <a16:creationId xmlns:a16="http://schemas.microsoft.com/office/drawing/2014/main" id="{FD63E5A7-22B9-729B-BFA2-808C1FF31B53}"/>
              </a:ext>
            </a:extLst>
          </p:cNvPr>
          <p:cNvSpPr/>
          <p:nvPr/>
        </p:nvSpPr>
        <p:spPr>
          <a:xfrm>
            <a:off x="837670" y="523544"/>
            <a:ext cx="157480" cy="1151890"/>
          </a:xfrm>
          <a:custGeom>
            <a:avLst/>
            <a:gdLst/>
            <a:ahLst/>
            <a:cxnLst/>
            <a:rect l="l" t="t" r="r" b="b"/>
            <a:pathLst>
              <a:path w="157480" h="1151889">
                <a:moveTo>
                  <a:pt x="0" y="1151797"/>
                </a:moveTo>
                <a:lnTo>
                  <a:pt x="157063" y="1151797"/>
                </a:lnTo>
                <a:lnTo>
                  <a:pt x="157063" y="0"/>
                </a:lnTo>
                <a:lnTo>
                  <a:pt x="0" y="0"/>
                </a:lnTo>
                <a:lnTo>
                  <a:pt x="0" y="1151797"/>
                </a:lnTo>
                <a:close/>
              </a:path>
            </a:pathLst>
          </a:custGeom>
          <a:solidFill>
            <a:srgbClr val="E3007D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3E56D718-F5BE-EC47-98AC-B9CBAFAA5225}"/>
              </a:ext>
            </a:extLst>
          </p:cNvPr>
          <p:cNvSpPr txBox="1"/>
          <p:nvPr/>
        </p:nvSpPr>
        <p:spPr>
          <a:xfrm>
            <a:off x="837670" y="7047786"/>
            <a:ext cx="18129779" cy="1354381"/>
          </a:xfrm>
          <a:prstGeom prst="rect">
            <a:avLst/>
          </a:prstGeom>
          <a:noFill/>
          <a:ln>
            <a:solidFill>
              <a:srgbClr val="E3007D"/>
            </a:solidFill>
          </a:ln>
        </p:spPr>
        <p:txBody>
          <a:bodyPr wrap="square" rtlCol="0">
            <a:noAutofit/>
          </a:bodyPr>
          <a:lstStyle/>
          <a:p>
            <a:r>
              <a:rPr lang="en-US" b="1" dirty="0" err="1">
                <a:solidFill>
                  <a:srgbClr val="E6007E"/>
                </a:solidFill>
                <a:latin typeface="Quicksand" pitchFamily="2" charset="0"/>
              </a:rPr>
              <a:t>Weitere</a:t>
            </a:r>
            <a:r>
              <a:rPr lang="en-US" b="1" dirty="0">
                <a:solidFill>
                  <a:srgbClr val="E6007E"/>
                </a:solidFill>
                <a:latin typeface="Quicksand" pitchFamily="2" charset="0"/>
              </a:rPr>
              <a:t> </a:t>
            </a:r>
            <a:r>
              <a:rPr lang="en-US" b="1" dirty="0" err="1">
                <a:solidFill>
                  <a:srgbClr val="E6007E"/>
                </a:solidFill>
                <a:latin typeface="Quicksand" pitchFamily="2" charset="0"/>
              </a:rPr>
              <a:t>Einsatzmöglichkeiten</a:t>
            </a:r>
            <a:r>
              <a:rPr lang="en-US" b="1" dirty="0">
                <a:solidFill>
                  <a:srgbClr val="E6007E"/>
                </a:solidFill>
                <a:latin typeface="Quicksand" pitchFamily="2" charset="0"/>
              </a:rPr>
              <a:t>: </a:t>
            </a:r>
          </a:p>
          <a:p>
            <a:r>
              <a:rPr lang="en-US" dirty="0" err="1">
                <a:solidFill>
                  <a:schemeClr val="tx1"/>
                </a:solidFill>
                <a:latin typeface="Quicksand" pitchFamily="2" charset="0"/>
              </a:rPr>
              <a:t>Regelleistung</a:t>
            </a:r>
            <a:endParaRPr lang="en-US" dirty="0">
              <a:solidFill>
                <a:schemeClr val="tx1"/>
              </a:solidFill>
              <a:latin typeface="Quicksand" pitchFamily="2" charset="0"/>
            </a:endParaRPr>
          </a:p>
          <a:p>
            <a:r>
              <a:rPr lang="en-US" dirty="0" err="1">
                <a:solidFill>
                  <a:schemeClr val="tx1"/>
                </a:solidFill>
                <a:latin typeface="Quicksand" pitchFamily="2" charset="0"/>
              </a:rPr>
              <a:t>Netzengpassmanagement</a:t>
            </a:r>
            <a:endParaRPr lang="en-US" dirty="0">
              <a:solidFill>
                <a:schemeClr val="tx1"/>
              </a:solidFill>
              <a:latin typeface="Quicksand" pitchFamily="2" charset="0"/>
            </a:endParaRPr>
          </a:p>
          <a:p>
            <a:r>
              <a:rPr lang="en-US" dirty="0" err="1">
                <a:solidFill>
                  <a:schemeClr val="tx1"/>
                </a:solidFill>
                <a:latin typeface="Quicksand" pitchFamily="2" charset="0"/>
              </a:rPr>
              <a:t>Spannungsregelung</a:t>
            </a:r>
            <a:endParaRPr lang="en-US" dirty="0">
              <a:solidFill>
                <a:schemeClr val="tx1"/>
              </a:solidFill>
              <a:latin typeface="Quicksand" pitchFamily="2" charset="0"/>
            </a:endParaRPr>
          </a:p>
          <a:p>
            <a:r>
              <a:rPr lang="en-GB" spc="-10" dirty="0" err="1">
                <a:solidFill>
                  <a:schemeClr val="tx1"/>
                </a:solidFill>
                <a:latin typeface="Quicksand" pitchFamily="2" charset="0"/>
                <a:ea typeface="+mj-ea"/>
                <a:sym typeface="Quicksand"/>
              </a:rPr>
              <a:t>Momentanreserve</a:t>
            </a:r>
            <a:endParaRPr lang="en-GB" spc="-10" dirty="0">
              <a:solidFill>
                <a:schemeClr val="tx1"/>
              </a:solidFill>
              <a:latin typeface="Quicksand" pitchFamily="2" charset="0"/>
              <a:ea typeface="+mj-ea"/>
              <a:sym typeface="Quicksand"/>
            </a:endParaRPr>
          </a:p>
          <a:p>
            <a:endParaRPr lang="en-US" b="1" dirty="0">
              <a:solidFill>
                <a:srgbClr val="0E0927"/>
              </a:solidFill>
              <a:latin typeface="Quicksand" pitchFamily="2" charset="0"/>
            </a:endParaRPr>
          </a:p>
          <a:p>
            <a:endParaRPr lang="en-US" b="1" dirty="0">
              <a:solidFill>
                <a:srgbClr val="0E0927"/>
              </a:solidFill>
              <a:latin typeface="Quicksand" pitchFamily="2" charset="0"/>
            </a:endParaRPr>
          </a:p>
          <a:p>
            <a:pPr marL="179388" indent="-179388" algn="l">
              <a:buFont typeface="Arial" panose="020B0604020202020204" pitchFamily="34" charset="0"/>
              <a:buChar char="•"/>
            </a:pPr>
            <a:endParaRPr lang="LID4096" sz="1600" dirty="0" err="1"/>
          </a:p>
        </p:txBody>
      </p:sp>
      <p:sp>
        <p:nvSpPr>
          <p:cNvPr id="2" name="TextBox 129">
            <a:extLst>
              <a:ext uri="{FF2B5EF4-FFF2-40B4-BE49-F238E27FC236}">
                <a16:creationId xmlns:a16="http://schemas.microsoft.com/office/drawing/2014/main" id="{819BD449-85B3-4780-BD00-AFEC8BEA0BD9}"/>
              </a:ext>
            </a:extLst>
          </p:cNvPr>
          <p:cNvSpPr txBox="1"/>
          <p:nvPr/>
        </p:nvSpPr>
        <p:spPr>
          <a:xfrm>
            <a:off x="837670" y="2020880"/>
            <a:ext cx="18129780" cy="4794761"/>
          </a:xfrm>
          <a:prstGeom prst="rect">
            <a:avLst/>
          </a:prstGeom>
          <a:noFill/>
          <a:ln>
            <a:solidFill>
              <a:srgbClr val="E6007E"/>
            </a:solidFill>
          </a:ln>
        </p:spPr>
        <p:txBody>
          <a:bodyPr wrap="square" rtlCol="0">
            <a:noAutofit/>
          </a:bodyPr>
          <a:lstStyle/>
          <a:p>
            <a:pPr marL="69850">
              <a:spcBef>
                <a:spcPts val="0"/>
              </a:spcBef>
              <a:buClr>
                <a:schemeClr val="lt1"/>
              </a:buClr>
              <a:buSzPts val="3200"/>
            </a:pPr>
            <a:endParaRPr lang="en-US" dirty="0">
              <a:solidFill>
                <a:schemeClr val="tx1"/>
              </a:solidFill>
              <a:latin typeface="Quicksand" pitchFamily="2" charset="0"/>
            </a:endParaRPr>
          </a:p>
          <a:p>
            <a:pPr marL="69850" algn="l" rtl="0">
              <a:buClr>
                <a:schemeClr val="lt1"/>
              </a:buClr>
              <a:buSzPts val="3200"/>
            </a:pPr>
            <a:r>
              <a:rPr lang="de-DE" dirty="0">
                <a:latin typeface="Quicksand" pitchFamily="2" charset="0"/>
              </a:rPr>
              <a:t>„Der </a:t>
            </a:r>
            <a:r>
              <a:rPr lang="de-DE" b="1" dirty="0">
                <a:solidFill>
                  <a:srgbClr val="E3007D"/>
                </a:solidFill>
                <a:latin typeface="Quicksand" pitchFamily="2" charset="0"/>
              </a:rPr>
              <a:t>volkswirtschaftliche Nutzen </a:t>
            </a:r>
            <a:r>
              <a:rPr lang="de-DE" dirty="0">
                <a:latin typeface="Quicksand" pitchFamily="2" charset="0"/>
              </a:rPr>
              <a:t>spiegelt die </a:t>
            </a:r>
            <a:r>
              <a:rPr lang="de-DE" b="1" dirty="0">
                <a:latin typeface="Quicksand" pitchFamily="2" charset="0"/>
              </a:rPr>
              <a:t>Reduktion der Gesamtkosten für die Bereitstellung von elektrischer Energie wider</a:t>
            </a:r>
            <a:r>
              <a:rPr lang="de-DE" dirty="0">
                <a:latin typeface="Quicksand" pitchFamily="2" charset="0"/>
              </a:rPr>
              <a:t>. Hierbei zeigt sich, dass für Großbatteriespeicher höhere Investitionen notwendig sind, dies aber durch </a:t>
            </a:r>
            <a:r>
              <a:rPr lang="de-DE" b="1" dirty="0">
                <a:latin typeface="Quicksand" pitchFamily="2" charset="0"/>
              </a:rPr>
              <a:t>eingesparte Brennstoff- und CO2-Kosten</a:t>
            </a:r>
            <a:r>
              <a:rPr lang="de-DE" dirty="0">
                <a:latin typeface="Quicksand" pitchFamily="2" charset="0"/>
              </a:rPr>
              <a:t>, die ohne Batterien anfallen würden, um Strom durch flexible Kraftwerke bereitzustellen, mehr als kompensiert wird.“</a:t>
            </a:r>
          </a:p>
          <a:p>
            <a:pPr marL="69850" algn="l" rtl="0">
              <a:buClr>
                <a:schemeClr val="lt1"/>
              </a:buClr>
              <a:buSzPts val="3200"/>
            </a:pPr>
            <a:endParaRPr lang="de-DE" sz="2000" dirty="0">
              <a:solidFill>
                <a:schemeClr val="tx1"/>
              </a:solidFill>
              <a:latin typeface="Quicksand" pitchFamily="2" charset="0"/>
            </a:endParaRPr>
          </a:p>
          <a:p>
            <a:pPr marL="69850" algn="l" rtl="0">
              <a:buClr>
                <a:schemeClr val="lt1"/>
              </a:buClr>
              <a:buSzPts val="3200"/>
            </a:pPr>
            <a:r>
              <a:rPr lang="de-DE" dirty="0">
                <a:latin typeface="Quicksand" pitchFamily="2" charset="0"/>
              </a:rPr>
              <a:t>Der hier ausgewiesene </a:t>
            </a:r>
            <a:r>
              <a:rPr lang="de-DE" b="1" dirty="0">
                <a:solidFill>
                  <a:srgbClr val="E3007D"/>
                </a:solidFill>
                <a:latin typeface="Quicksand" pitchFamily="2" charset="0"/>
              </a:rPr>
              <a:t>volkswirtschaftliche Nutzen </a:t>
            </a:r>
            <a:r>
              <a:rPr lang="de-DE" dirty="0">
                <a:latin typeface="Quicksand" pitchFamily="2" charset="0"/>
              </a:rPr>
              <a:t>ergibt sich somit allein aus dem </a:t>
            </a:r>
            <a:r>
              <a:rPr lang="de-DE" dirty="0" err="1">
                <a:latin typeface="Quicksand" pitchFamily="2" charset="0"/>
              </a:rPr>
              <a:t>DayAhead</a:t>
            </a:r>
            <a:r>
              <a:rPr lang="de-DE" dirty="0">
                <a:latin typeface="Quicksand" pitchFamily="2" charset="0"/>
              </a:rPr>
              <a:t> Großhandelsmarkt. Großbatteriespeicher können zusätzlich dazu weiteren volkswirtschaftlichen Nutzen durch folgende Beiträge generieren:</a:t>
            </a:r>
          </a:p>
          <a:p>
            <a:pPr marL="355600" indent="-285750" algn="l" rtl="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latin typeface="Quicksand" pitchFamily="2" charset="0"/>
              </a:rPr>
              <a:t>Der Bereitstellung kurzfristiger Flexibilitätsprodukte im </a:t>
            </a:r>
            <a:r>
              <a:rPr lang="de-DE" dirty="0" err="1">
                <a:latin typeface="Quicksand" pitchFamily="2" charset="0"/>
              </a:rPr>
              <a:t>Intradaymarkt</a:t>
            </a:r>
            <a:r>
              <a:rPr lang="de-DE" dirty="0">
                <a:latin typeface="Quicksand" pitchFamily="2" charset="0"/>
              </a:rPr>
              <a:t> (siehe weitere Kapitel);</a:t>
            </a:r>
          </a:p>
          <a:p>
            <a:pPr marL="355600" indent="-285750" algn="l" rtl="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latin typeface="Quicksand" pitchFamily="2" charset="0"/>
              </a:rPr>
              <a:t>Der Bereitstellung von Systemdienstleistungen (siehe weitere Kapitel); </a:t>
            </a:r>
          </a:p>
          <a:p>
            <a:pPr marL="355600" indent="-285750" algn="l" rtl="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latin typeface="Quicksand" pitchFamily="2" charset="0"/>
              </a:rPr>
              <a:t>Der Erzeugung weiterer Vorteile im Stromsystem, wie der Reduktion von Netzengpassmanagementkosten und einer verbesserten Integration erneuerbarer Energien (siehe weitere Kapitel; </a:t>
            </a:r>
          </a:p>
          <a:p>
            <a:pPr marL="355600" indent="-285750" algn="l" rtl="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latin typeface="Quicksand" pitchFamily="2" charset="0"/>
              </a:rPr>
              <a:t>Den Folgeeffekten geringerer Stromgroßhandelspreise; sowie </a:t>
            </a:r>
          </a:p>
          <a:p>
            <a:pPr marL="355600" indent="-285750" algn="l" rtl="0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de-DE" dirty="0">
                <a:latin typeface="Quicksand" pitchFamily="2" charset="0"/>
              </a:rPr>
              <a:t>Den Folgeeffekten geringerer Strompreisvolatilität.</a:t>
            </a:r>
          </a:p>
          <a:p>
            <a:pPr marL="69850" algn="l" rtl="0">
              <a:buClr>
                <a:schemeClr val="tx1"/>
              </a:buClr>
              <a:buSzPct val="100000"/>
            </a:pPr>
            <a:endParaRPr lang="de-DE" dirty="0">
              <a:solidFill>
                <a:schemeClr val="tx1"/>
              </a:solidFill>
              <a:latin typeface="Quicksand" pitchFamily="2" charset="0"/>
            </a:endParaRPr>
          </a:p>
          <a:p>
            <a:pPr marL="69850" algn="l" rtl="0">
              <a:buClr>
                <a:schemeClr val="tx1"/>
              </a:buClr>
              <a:buSzPct val="100000"/>
            </a:pPr>
            <a:r>
              <a:rPr lang="de-DE" dirty="0">
                <a:solidFill>
                  <a:schemeClr val="tx1"/>
                </a:solidFill>
                <a:latin typeface="Quicksand" pitchFamily="2" charset="0"/>
                <a:ea typeface="Segoe UI Black" panose="020B0A02040204020203" pitchFamily="34" charset="0"/>
              </a:rPr>
              <a:t>W</a:t>
            </a:r>
            <a:r>
              <a:rPr lang="de-DE" dirty="0">
                <a:latin typeface="Quicksand" pitchFamily="2" charset="0"/>
                <a:ea typeface="Segoe UI Black" panose="020B0A02040204020203" pitchFamily="34" charset="0"/>
              </a:rPr>
              <a:t>enn keine Möglichkeit besteht, </a:t>
            </a:r>
            <a:r>
              <a:rPr lang="de-DE" b="1" dirty="0">
                <a:latin typeface="Quicksand" pitchFamily="2" charset="0"/>
                <a:ea typeface="Segoe UI Black" panose="020B0A02040204020203" pitchFamily="34" charset="0"/>
              </a:rPr>
              <a:t>Großbatteriespeicher durch zusätzliche Gaskraftwerke </a:t>
            </a:r>
            <a:r>
              <a:rPr lang="de-DE" dirty="0">
                <a:latin typeface="Quicksand" pitchFamily="2" charset="0"/>
                <a:ea typeface="Segoe UI Black" panose="020B0A02040204020203" pitchFamily="34" charset="0"/>
              </a:rPr>
              <a:t>zu ersetzen, wäre im Durchschnitt von 2030 bis 2050 mit einem um 4 €/MWh höheren Großhandelspreis zu rechnen.</a:t>
            </a:r>
          </a:p>
          <a:p>
            <a:pPr marL="69850" algn="l" rtl="0">
              <a:buClr>
                <a:schemeClr val="tx1"/>
              </a:buClr>
              <a:buSzPct val="100000"/>
            </a:pPr>
            <a:endParaRPr lang="de-DE" dirty="0">
              <a:solidFill>
                <a:schemeClr val="tx1"/>
              </a:solidFill>
              <a:latin typeface="Quicksand" pitchFamily="2" charset="0"/>
              <a:ea typeface="Segoe UI Black" panose="020B0A02040204020203" pitchFamily="34" charset="0"/>
            </a:endParaRPr>
          </a:p>
          <a:p>
            <a:pPr marL="69850" algn="l" rtl="0">
              <a:buClr>
                <a:schemeClr val="tx1"/>
              </a:buClr>
              <a:buSzPct val="100000"/>
            </a:pPr>
            <a:endParaRPr lang="en-US" dirty="0">
              <a:solidFill>
                <a:schemeClr val="tx1"/>
              </a:solidFill>
              <a:latin typeface="Quicksand" pitchFamily="2" charset="0"/>
              <a:ea typeface="Segoe UI Black" panose="020B0A02040204020203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6CD99D1-C5AA-0CA4-3F0B-4855C18FB351}"/>
              </a:ext>
            </a:extLst>
          </p:cNvPr>
          <p:cNvSpPr txBox="1"/>
          <p:nvPr/>
        </p:nvSpPr>
        <p:spPr>
          <a:xfrm>
            <a:off x="837670" y="8634312"/>
            <a:ext cx="18129779" cy="1844675"/>
          </a:xfrm>
          <a:prstGeom prst="rect">
            <a:avLst/>
          </a:prstGeom>
          <a:noFill/>
          <a:ln>
            <a:solidFill>
              <a:srgbClr val="E3007D"/>
            </a:solidFill>
          </a:ln>
        </p:spPr>
        <p:txBody>
          <a:bodyPr wrap="square" rtlCol="0">
            <a:noAutofit/>
          </a:bodyPr>
          <a:lstStyle/>
          <a:p>
            <a:r>
              <a:rPr lang="en-US" b="1" dirty="0" err="1">
                <a:solidFill>
                  <a:schemeClr val="tx1"/>
                </a:solidFill>
                <a:latin typeface="Quicksand" pitchFamily="2" charset="0"/>
              </a:rPr>
              <a:t>Senkung</a:t>
            </a:r>
            <a:r>
              <a:rPr lang="en-US" b="1" dirty="0">
                <a:solidFill>
                  <a:schemeClr val="tx1"/>
                </a:solidFill>
                <a:latin typeface="Quicksand" pitchFamily="2" charset="0"/>
              </a:rPr>
              <a:t> PRL-</a:t>
            </a:r>
            <a:r>
              <a:rPr lang="en-US" b="1" dirty="0" err="1">
                <a:solidFill>
                  <a:schemeClr val="tx1"/>
                </a:solidFill>
                <a:latin typeface="Quicksand" pitchFamily="2" charset="0"/>
              </a:rPr>
              <a:t>Preise</a:t>
            </a:r>
            <a:r>
              <a:rPr lang="en-US" b="1" dirty="0">
                <a:solidFill>
                  <a:schemeClr val="tx1"/>
                </a:solidFill>
                <a:latin typeface="Quicksand" pitchFamily="2" charset="0"/>
              </a:rPr>
              <a:t> um 64% </a:t>
            </a:r>
            <a:r>
              <a:rPr lang="en-US" dirty="0" err="1">
                <a:solidFill>
                  <a:schemeClr val="tx1"/>
                </a:solidFill>
                <a:latin typeface="Quicksand" pitchFamily="2" charset="0"/>
              </a:rPr>
              <a:t>seit</a:t>
            </a:r>
            <a:r>
              <a:rPr lang="en-US" dirty="0">
                <a:solidFill>
                  <a:schemeClr val="tx1"/>
                </a:solidFill>
                <a:latin typeface="Quicksand" pitchFamily="2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Quicksand" pitchFamily="2" charset="0"/>
              </a:rPr>
              <a:t>Durchschnitt</a:t>
            </a:r>
            <a:r>
              <a:rPr lang="en-US" dirty="0">
                <a:solidFill>
                  <a:schemeClr val="tx1"/>
                </a:solidFill>
                <a:latin typeface="Quicksand" pitchFamily="2" charset="0"/>
              </a:rPr>
              <a:t> 2013/14 (</a:t>
            </a:r>
            <a:r>
              <a:rPr lang="en-US" dirty="0" err="1">
                <a:solidFill>
                  <a:schemeClr val="tx1"/>
                </a:solidFill>
                <a:latin typeface="Quicksand" pitchFamily="2" charset="0"/>
              </a:rPr>
              <a:t>Markteintritt</a:t>
            </a:r>
            <a:r>
              <a:rPr lang="en-US" dirty="0">
                <a:solidFill>
                  <a:schemeClr val="tx1"/>
                </a:solidFill>
                <a:latin typeface="Quicksand" pitchFamily="2" charset="0"/>
              </a:rPr>
              <a:t> von </a:t>
            </a:r>
            <a:r>
              <a:rPr lang="en-US" dirty="0" err="1">
                <a:solidFill>
                  <a:schemeClr val="tx1"/>
                </a:solidFill>
                <a:latin typeface="Quicksand" pitchFamily="2" charset="0"/>
              </a:rPr>
              <a:t>Batteriespeichen</a:t>
            </a:r>
            <a:r>
              <a:rPr lang="en-US" dirty="0">
                <a:solidFill>
                  <a:schemeClr val="tx1"/>
                </a:solidFill>
                <a:latin typeface="Quicksand" pitchFamily="2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Quicksand" pitchFamily="2" charset="0"/>
              </a:rPr>
              <a:t>seit</a:t>
            </a:r>
            <a:r>
              <a:rPr lang="en-US" dirty="0">
                <a:solidFill>
                  <a:schemeClr val="tx1"/>
                </a:solidFill>
                <a:latin typeface="Quicksand" pitchFamily="2" charset="0"/>
              </a:rPr>
              <a:t> ca. 2016)</a:t>
            </a:r>
          </a:p>
          <a:p>
            <a:endParaRPr lang="en-US" b="1" dirty="0">
              <a:solidFill>
                <a:srgbClr val="0E0927"/>
              </a:solidFill>
              <a:latin typeface="Quicksand" pitchFamily="2" charset="0"/>
            </a:endParaRPr>
          </a:p>
          <a:p>
            <a:endParaRPr lang="en-US" b="1" dirty="0">
              <a:solidFill>
                <a:srgbClr val="0E0927"/>
              </a:solidFill>
              <a:latin typeface="Quicksand" pitchFamily="2" charset="0"/>
            </a:endParaRPr>
          </a:p>
          <a:p>
            <a:pPr marL="179388" indent="-179388" algn="l">
              <a:buFont typeface="Arial" panose="020B0604020202020204" pitchFamily="34" charset="0"/>
              <a:buChar char="•"/>
            </a:pPr>
            <a:endParaRPr lang="LID4096" sz="1600" dirty="0" err="1"/>
          </a:p>
        </p:txBody>
      </p:sp>
    </p:spTree>
    <p:extLst>
      <p:ext uri="{BB962C8B-B14F-4D97-AF65-F5344CB8AC3E}">
        <p14:creationId xmlns:p14="http://schemas.microsoft.com/office/powerpoint/2010/main" val="2197317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099" cy="11308556"/>
          </a:xfrm>
          <a:prstGeom prst="rect">
            <a:avLst/>
          </a:prstGeom>
        </p:spPr>
      </p:pic>
      <p:sp>
        <p:nvSpPr>
          <p:cNvPr id="3" name="object 3"/>
          <p:cNvSpPr/>
          <p:nvPr/>
        </p:nvSpPr>
        <p:spPr>
          <a:xfrm>
            <a:off x="-1644" y="34285"/>
            <a:ext cx="20104100" cy="113087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400096">
              <a:alpha val="5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2537253" y="6636869"/>
            <a:ext cx="7568490" cy="467333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515285A1-2E10-F01E-CB71-CB693EF6BB61}"/>
              </a:ext>
            </a:extLst>
          </p:cNvPr>
          <p:cNvSpPr txBox="1"/>
          <p:nvPr/>
        </p:nvSpPr>
        <p:spPr>
          <a:xfrm>
            <a:off x="1058806" y="777875"/>
            <a:ext cx="8405178" cy="3247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500" b="1" dirty="0" err="1">
                <a:solidFill>
                  <a:schemeClr val="bg1"/>
                </a:solidFill>
                <a:latin typeface="Quicksand"/>
                <a:ea typeface="+mn-ea"/>
              </a:rPr>
              <a:t>Kyon</a:t>
            </a:r>
            <a:r>
              <a:rPr lang="en-US" sz="2500" b="1" dirty="0">
                <a:solidFill>
                  <a:schemeClr val="bg1"/>
                </a:solidFill>
                <a:latin typeface="Quicksand"/>
                <a:ea typeface="+mn-ea"/>
              </a:rPr>
              <a:t> Energy Finance GmbH:</a:t>
            </a:r>
          </a:p>
          <a:p>
            <a:r>
              <a:rPr lang="en-US" sz="2500" b="1" dirty="0">
                <a:solidFill>
                  <a:srgbClr val="E6007E"/>
                </a:solidFill>
                <a:latin typeface="Quicksand"/>
                <a:ea typeface="+mn-ea"/>
              </a:rPr>
              <a:t>Benedikt Deuchert</a:t>
            </a:r>
            <a:br>
              <a:rPr lang="en-US" sz="2500" b="1" dirty="0">
                <a:solidFill>
                  <a:schemeClr val="bg1"/>
                </a:solidFill>
                <a:effectLst/>
                <a:latin typeface="Quicksand" pitchFamily="2" charset="0"/>
                <a:ea typeface="Aptos" panose="020B0004020202020204" pitchFamily="34" charset="0"/>
                <a:cs typeface="Aptos" panose="020B0004020202020204" pitchFamily="34" charset="0"/>
              </a:rPr>
            </a:br>
            <a:r>
              <a:rPr lang="en-US" sz="2500" dirty="0">
                <a:solidFill>
                  <a:schemeClr val="bg1"/>
                </a:solidFill>
                <a:latin typeface="Quicksand"/>
                <a:ea typeface="+mn-ea"/>
              </a:rPr>
              <a:t>Head of Business Development and Regulatory Affairs</a:t>
            </a:r>
          </a:p>
          <a:p>
            <a:endParaRPr lang="en-US" sz="2500" dirty="0">
              <a:solidFill>
                <a:schemeClr val="bg1"/>
              </a:solidFill>
              <a:latin typeface="Quicksand"/>
              <a:ea typeface="+mn-ea"/>
            </a:endParaRP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nedikt.deuchert@kyon-energy.com</a:t>
            </a:r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 </a:t>
            </a: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+49 171 4147793</a:t>
            </a: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kyon-energy.com</a:t>
            </a:r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 </a:t>
            </a:r>
          </a:p>
          <a:p>
            <a:endParaRPr lang="en-US" sz="3000" dirty="0">
              <a:solidFill>
                <a:schemeClr val="bg1"/>
              </a:solidFill>
              <a:latin typeface="Quicksand"/>
              <a:ea typeface="+mn-ea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C71C7DC-73E0-675B-560C-A5B113CEA56D}"/>
              </a:ext>
            </a:extLst>
          </p:cNvPr>
          <p:cNvSpPr txBox="1"/>
          <p:nvPr/>
        </p:nvSpPr>
        <p:spPr>
          <a:xfrm>
            <a:off x="1118759" y="4037390"/>
            <a:ext cx="8405178" cy="3247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500" b="1" dirty="0">
                <a:solidFill>
                  <a:schemeClr val="bg1"/>
                </a:solidFill>
                <a:latin typeface="Quicksand"/>
                <a:ea typeface="+mn-ea"/>
              </a:rPr>
              <a:t>enspired GmbH:</a:t>
            </a:r>
          </a:p>
          <a:p>
            <a:r>
              <a:rPr lang="en-US" sz="2500" b="1" dirty="0">
                <a:solidFill>
                  <a:srgbClr val="E6007E"/>
                </a:solidFill>
                <a:latin typeface="Quicksand"/>
                <a:ea typeface="+mn-ea"/>
              </a:rPr>
              <a:t>Thomas König</a:t>
            </a:r>
            <a:br>
              <a:rPr lang="en-US" sz="2500" b="1" dirty="0">
                <a:solidFill>
                  <a:schemeClr val="bg1"/>
                </a:solidFill>
                <a:effectLst/>
                <a:latin typeface="Quicksand" pitchFamily="2" charset="0"/>
                <a:ea typeface="Aptos" panose="020B0004020202020204" pitchFamily="34" charset="0"/>
                <a:cs typeface="Aptos" panose="020B0004020202020204" pitchFamily="34" charset="0"/>
              </a:rPr>
            </a:br>
            <a:r>
              <a:rPr lang="en-US" sz="2500" dirty="0">
                <a:solidFill>
                  <a:schemeClr val="bg1"/>
                </a:solidFill>
                <a:latin typeface="Quicksand"/>
                <a:ea typeface="+mn-ea"/>
              </a:rPr>
              <a:t>Senior Regulatory Expert</a:t>
            </a:r>
          </a:p>
          <a:p>
            <a:endParaRPr lang="en-US" sz="2500" dirty="0">
              <a:solidFill>
                <a:schemeClr val="bg1"/>
              </a:solidFill>
              <a:latin typeface="Quicksand"/>
              <a:ea typeface="+mn-ea"/>
            </a:endParaRP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omas.koenig@enspired-trading.com</a:t>
            </a:r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 </a:t>
            </a: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+49 16091539912</a:t>
            </a: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nspired-trading.com</a:t>
            </a:r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 </a:t>
            </a:r>
          </a:p>
          <a:p>
            <a:endParaRPr lang="en-US" sz="3000" dirty="0">
              <a:solidFill>
                <a:schemeClr val="bg1"/>
              </a:solidFill>
              <a:latin typeface="Quicksand"/>
              <a:ea typeface="+mn-ea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DD422EE-097C-3BDA-B18F-298D49BBE924}"/>
              </a:ext>
            </a:extLst>
          </p:cNvPr>
          <p:cNvSpPr txBox="1"/>
          <p:nvPr/>
        </p:nvSpPr>
        <p:spPr>
          <a:xfrm>
            <a:off x="1100377" y="7229602"/>
            <a:ext cx="8405178" cy="3247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500" b="1" dirty="0">
                <a:solidFill>
                  <a:schemeClr val="bg1"/>
                </a:solidFill>
                <a:latin typeface="Quicksand"/>
                <a:ea typeface="+mn-ea"/>
              </a:rPr>
              <a:t>Fluence Energy GmbH: </a:t>
            </a:r>
          </a:p>
          <a:p>
            <a:r>
              <a:rPr lang="en-US" sz="2500" b="1" dirty="0">
                <a:solidFill>
                  <a:srgbClr val="E6007E"/>
                </a:solidFill>
                <a:latin typeface="Quicksand"/>
                <a:ea typeface="+mn-ea"/>
              </a:rPr>
              <a:t>Elisabeth Giesemann</a:t>
            </a:r>
            <a:br>
              <a:rPr lang="en-US" sz="2500" b="1" dirty="0">
                <a:solidFill>
                  <a:schemeClr val="bg1"/>
                </a:solidFill>
                <a:effectLst/>
                <a:latin typeface="Quicksand" pitchFamily="2" charset="0"/>
                <a:ea typeface="Aptos" panose="020B0004020202020204" pitchFamily="34" charset="0"/>
                <a:cs typeface="Aptos" panose="020B0004020202020204" pitchFamily="34" charset="0"/>
              </a:rPr>
            </a:br>
            <a:r>
              <a:rPr lang="en-US" sz="2500" dirty="0">
                <a:solidFill>
                  <a:schemeClr val="bg1"/>
                </a:solidFill>
                <a:latin typeface="Quicksand"/>
                <a:ea typeface="+mn-ea"/>
              </a:rPr>
              <a:t>Senior Policy &amp; Communication Associate</a:t>
            </a:r>
          </a:p>
          <a:p>
            <a:endParaRPr lang="en-US" sz="2500" dirty="0">
              <a:solidFill>
                <a:schemeClr val="bg1"/>
              </a:solidFill>
              <a:latin typeface="Quicksand"/>
              <a:ea typeface="+mn-ea"/>
            </a:endParaRP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lisabeth.giesemann@fluenceenergy.com</a:t>
            </a:r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 </a:t>
            </a: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+</a:t>
            </a:r>
            <a:r>
              <a:rPr lang="en-US" sz="2500">
                <a:solidFill>
                  <a:schemeClr val="bg1"/>
                </a:solidFill>
                <a:latin typeface="Quicksand"/>
                <a:ea typeface="+mn-ea"/>
              </a:rPr>
              <a:t>49 1792070891</a:t>
            </a:r>
            <a:endParaRPr lang="it-IT" sz="2500" dirty="0">
              <a:solidFill>
                <a:schemeClr val="bg1"/>
              </a:solidFill>
              <a:latin typeface="Quicksand"/>
              <a:ea typeface="+mn-ea"/>
            </a:endParaRP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luenceenergy.com</a:t>
            </a:r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 </a:t>
            </a:r>
          </a:p>
          <a:p>
            <a:endParaRPr lang="en-US" sz="3000" dirty="0">
              <a:solidFill>
                <a:schemeClr val="bg1"/>
              </a:solidFill>
              <a:latin typeface="Quicksand"/>
              <a:ea typeface="+mn-ea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57125B2-3156-3BD2-98FB-FF71B152AE94}"/>
              </a:ext>
            </a:extLst>
          </p:cNvPr>
          <p:cNvSpPr txBox="1"/>
          <p:nvPr/>
        </p:nvSpPr>
        <p:spPr>
          <a:xfrm>
            <a:off x="10204450" y="707884"/>
            <a:ext cx="8405178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500" b="1" dirty="0" err="1">
                <a:solidFill>
                  <a:schemeClr val="bg1"/>
                </a:solidFill>
                <a:latin typeface="Quicksand"/>
                <a:ea typeface="+mn-ea"/>
              </a:rPr>
              <a:t>Bundesverband</a:t>
            </a:r>
            <a:r>
              <a:rPr lang="en-US" sz="2500" b="1" dirty="0">
                <a:solidFill>
                  <a:schemeClr val="bg1"/>
                </a:solidFill>
                <a:latin typeface="Quicksand"/>
                <a:ea typeface="+mn-ea"/>
              </a:rPr>
              <a:t> Neue </a:t>
            </a:r>
            <a:r>
              <a:rPr lang="en-US" sz="2500" b="1" dirty="0" err="1">
                <a:solidFill>
                  <a:schemeClr val="bg1"/>
                </a:solidFill>
                <a:latin typeface="Quicksand"/>
                <a:ea typeface="+mn-ea"/>
              </a:rPr>
              <a:t>Energiewirtschaft</a:t>
            </a:r>
            <a:r>
              <a:rPr lang="en-US" sz="2500" b="1" dirty="0">
                <a:solidFill>
                  <a:schemeClr val="bg1"/>
                </a:solidFill>
                <a:latin typeface="Quicksand"/>
                <a:ea typeface="+mn-ea"/>
              </a:rPr>
              <a:t> </a:t>
            </a:r>
            <a:r>
              <a:rPr lang="en-US" sz="2500" b="1" dirty="0" err="1">
                <a:solidFill>
                  <a:schemeClr val="bg1"/>
                </a:solidFill>
                <a:latin typeface="Quicksand"/>
                <a:ea typeface="+mn-ea"/>
              </a:rPr>
              <a:t>e.V.</a:t>
            </a:r>
            <a:endParaRPr lang="en-US" sz="2500" b="1" dirty="0">
              <a:solidFill>
                <a:schemeClr val="bg1"/>
              </a:solidFill>
              <a:latin typeface="Quicksand"/>
              <a:ea typeface="+mn-ea"/>
            </a:endParaRPr>
          </a:p>
          <a:p>
            <a:r>
              <a:rPr lang="en-US" sz="2500" b="1" dirty="0">
                <a:solidFill>
                  <a:srgbClr val="E6007E"/>
                </a:solidFill>
                <a:latin typeface="Quicksand"/>
                <a:ea typeface="+mn-ea"/>
              </a:rPr>
              <a:t>Carsten Pfeiffer</a:t>
            </a:r>
            <a:br>
              <a:rPr lang="en-US" sz="2500" b="1" dirty="0">
                <a:solidFill>
                  <a:schemeClr val="bg1"/>
                </a:solidFill>
                <a:effectLst/>
                <a:latin typeface="Quicksand" pitchFamily="2" charset="0"/>
                <a:ea typeface="Aptos" panose="020B0004020202020204" pitchFamily="34" charset="0"/>
                <a:cs typeface="Aptos" panose="020B0004020202020204" pitchFamily="34" charset="0"/>
              </a:rPr>
            </a:br>
            <a:r>
              <a:rPr lang="en-US" sz="2500" dirty="0">
                <a:solidFill>
                  <a:schemeClr val="bg1"/>
                </a:solidFill>
                <a:latin typeface="Quicksand"/>
                <a:ea typeface="+mn-ea"/>
              </a:rPr>
              <a:t>Leiter </a:t>
            </a:r>
            <a:r>
              <a:rPr lang="en-US" sz="2500" dirty="0" err="1">
                <a:solidFill>
                  <a:schemeClr val="bg1"/>
                </a:solidFill>
                <a:latin typeface="Quicksand"/>
                <a:ea typeface="+mn-ea"/>
              </a:rPr>
              <a:t>Strategie</a:t>
            </a:r>
            <a:r>
              <a:rPr lang="en-US" sz="2500" dirty="0">
                <a:solidFill>
                  <a:schemeClr val="bg1"/>
                </a:solidFill>
                <a:latin typeface="Quicksand"/>
                <a:ea typeface="+mn-ea"/>
              </a:rPr>
              <a:t> und </a:t>
            </a:r>
            <a:r>
              <a:rPr lang="en-US" sz="2500" dirty="0" err="1">
                <a:solidFill>
                  <a:schemeClr val="bg1"/>
                </a:solidFill>
                <a:latin typeface="Quicksand"/>
                <a:ea typeface="+mn-ea"/>
              </a:rPr>
              <a:t>Politik</a:t>
            </a:r>
            <a:endParaRPr lang="en-US" sz="2500" dirty="0">
              <a:solidFill>
                <a:schemeClr val="bg1"/>
              </a:solidFill>
              <a:latin typeface="Quicksand"/>
              <a:ea typeface="+mn-ea"/>
            </a:endParaRPr>
          </a:p>
          <a:p>
            <a:endParaRPr lang="en-US" sz="2500" dirty="0">
              <a:solidFill>
                <a:schemeClr val="bg1"/>
              </a:solidFill>
              <a:latin typeface="Quicksand"/>
              <a:ea typeface="+mn-ea"/>
            </a:endParaRP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rsten.pfeiffer@bne-online.com</a:t>
            </a:r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 </a:t>
            </a:r>
          </a:p>
          <a:p>
            <a:r>
              <a:rPr lang="de-DE" sz="2500" dirty="0">
                <a:solidFill>
                  <a:schemeClr val="bg1"/>
                </a:solidFill>
                <a:latin typeface="Quicksand"/>
                <a:ea typeface="+mn-ea"/>
              </a:rPr>
              <a:t>+49 1729008854</a:t>
            </a: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bne-online.de</a:t>
            </a:r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 </a:t>
            </a:r>
          </a:p>
          <a:p>
            <a:endParaRPr lang="en-US" sz="3000" dirty="0">
              <a:solidFill>
                <a:schemeClr val="bg1"/>
              </a:solidFill>
              <a:latin typeface="Quicksand"/>
              <a:ea typeface="+mn-ea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6A519A0-A990-CF22-06FD-F822D66326DD}"/>
              </a:ext>
            </a:extLst>
          </p:cNvPr>
          <p:cNvSpPr txBox="1"/>
          <p:nvPr/>
        </p:nvSpPr>
        <p:spPr>
          <a:xfrm>
            <a:off x="10204450" y="4021250"/>
            <a:ext cx="8405178" cy="3247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500" b="1" dirty="0" err="1">
                <a:solidFill>
                  <a:schemeClr val="bg1"/>
                </a:solidFill>
                <a:latin typeface="Quicksand"/>
                <a:ea typeface="+mn-ea"/>
              </a:rPr>
              <a:t>BayWa</a:t>
            </a:r>
            <a:r>
              <a:rPr lang="en-US" sz="2500" b="1" dirty="0">
                <a:solidFill>
                  <a:schemeClr val="bg1"/>
                </a:solidFill>
                <a:latin typeface="Quicksand"/>
                <a:ea typeface="+mn-ea"/>
              </a:rPr>
              <a:t> </a:t>
            </a:r>
            <a:r>
              <a:rPr lang="en-US" sz="2500" b="1" dirty="0" err="1">
                <a:solidFill>
                  <a:schemeClr val="bg1"/>
                </a:solidFill>
                <a:latin typeface="Quicksand"/>
                <a:ea typeface="+mn-ea"/>
              </a:rPr>
              <a:t>r.e</a:t>
            </a:r>
            <a:r>
              <a:rPr lang="en-US" sz="2500" b="1" dirty="0">
                <a:solidFill>
                  <a:schemeClr val="bg1"/>
                </a:solidFill>
                <a:latin typeface="Quicksand"/>
                <a:ea typeface="+mn-ea"/>
              </a:rPr>
              <a:t>. AG:</a:t>
            </a:r>
          </a:p>
          <a:p>
            <a:r>
              <a:rPr lang="en-US" sz="2500" b="1" dirty="0">
                <a:solidFill>
                  <a:srgbClr val="E6007E"/>
                </a:solidFill>
                <a:latin typeface="Quicksand"/>
                <a:ea typeface="+mn-ea"/>
              </a:rPr>
              <a:t>Alexander Stork</a:t>
            </a:r>
            <a:br>
              <a:rPr lang="en-US" sz="2500" b="1" dirty="0">
                <a:solidFill>
                  <a:schemeClr val="bg1"/>
                </a:solidFill>
                <a:effectLst/>
                <a:latin typeface="Quicksand" pitchFamily="2" charset="0"/>
                <a:ea typeface="Aptos" panose="020B0004020202020204" pitchFamily="34" charset="0"/>
                <a:cs typeface="Aptos" panose="020B0004020202020204" pitchFamily="34" charset="0"/>
              </a:rPr>
            </a:br>
            <a:r>
              <a:rPr lang="en-US" sz="2500" dirty="0">
                <a:solidFill>
                  <a:schemeClr val="bg1"/>
                </a:solidFill>
                <a:latin typeface="Quicksand"/>
                <a:ea typeface="+mn-ea"/>
              </a:rPr>
              <a:t>Energy Policy Manager Germany</a:t>
            </a:r>
          </a:p>
          <a:p>
            <a:endParaRPr lang="en-US" sz="2500" dirty="0">
              <a:solidFill>
                <a:schemeClr val="bg1"/>
              </a:solidFill>
              <a:latin typeface="Quicksand"/>
              <a:ea typeface="+mn-ea"/>
            </a:endParaRP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ander.stork@baywa-re.com</a:t>
            </a:r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 </a:t>
            </a: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+</a:t>
            </a:r>
            <a:r>
              <a:rPr lang="en-US" sz="2500" dirty="0">
                <a:solidFill>
                  <a:schemeClr val="bg1"/>
                </a:solidFill>
                <a:latin typeface="Quicksand"/>
                <a:ea typeface="+mn-ea"/>
              </a:rPr>
              <a:t>49 160 3376686</a:t>
            </a:r>
            <a:endParaRPr lang="it-IT" sz="2500" dirty="0">
              <a:solidFill>
                <a:schemeClr val="bg1"/>
              </a:solidFill>
              <a:latin typeface="Quicksand"/>
              <a:ea typeface="+mn-ea"/>
            </a:endParaRP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  <a:hlinkClick r:id="rId13"/>
              </a:rPr>
              <a:t>www.baywa-re.com</a:t>
            </a:r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 </a:t>
            </a:r>
          </a:p>
          <a:p>
            <a:endParaRPr lang="en-US" sz="3000" dirty="0">
              <a:solidFill>
                <a:schemeClr val="bg1"/>
              </a:solidFill>
              <a:latin typeface="Quicksand"/>
              <a:ea typeface="+mn-ea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2FA4A76-B7D1-B32E-5554-F45A284554D6}"/>
              </a:ext>
            </a:extLst>
          </p:cNvPr>
          <p:cNvSpPr txBox="1"/>
          <p:nvPr/>
        </p:nvSpPr>
        <p:spPr>
          <a:xfrm>
            <a:off x="10186068" y="7230237"/>
            <a:ext cx="8405178" cy="3247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500" b="1" dirty="0" err="1">
                <a:solidFill>
                  <a:schemeClr val="bg1"/>
                </a:solidFill>
                <a:latin typeface="Quicksand"/>
                <a:ea typeface="+mn-ea"/>
              </a:rPr>
              <a:t>Ingenieurbüro</a:t>
            </a:r>
            <a:r>
              <a:rPr lang="en-US" sz="2500" b="1" dirty="0">
                <a:solidFill>
                  <a:schemeClr val="bg1"/>
                </a:solidFill>
                <a:latin typeface="Quicksand"/>
                <a:ea typeface="+mn-ea"/>
              </a:rPr>
              <a:t> Urban </a:t>
            </a:r>
            <a:r>
              <a:rPr lang="en-US" sz="2500" b="1" dirty="0" err="1">
                <a:solidFill>
                  <a:schemeClr val="bg1"/>
                </a:solidFill>
                <a:latin typeface="Quicksand"/>
                <a:ea typeface="+mn-ea"/>
              </a:rPr>
              <a:t>i.A.</a:t>
            </a:r>
            <a:r>
              <a:rPr lang="en-US" sz="2500" b="1" dirty="0">
                <a:solidFill>
                  <a:schemeClr val="bg1"/>
                </a:solidFill>
                <a:latin typeface="Quicksand"/>
                <a:ea typeface="+mn-ea"/>
              </a:rPr>
              <a:t> für Eco </a:t>
            </a:r>
            <a:r>
              <a:rPr lang="en-US" sz="2500" b="1" dirty="0" err="1">
                <a:solidFill>
                  <a:schemeClr val="bg1"/>
                </a:solidFill>
                <a:latin typeface="Quicksand"/>
                <a:ea typeface="+mn-ea"/>
              </a:rPr>
              <a:t>Stor</a:t>
            </a:r>
            <a:r>
              <a:rPr lang="en-US" sz="2500" b="1" dirty="0">
                <a:solidFill>
                  <a:schemeClr val="bg1"/>
                </a:solidFill>
                <a:latin typeface="Quicksand"/>
                <a:ea typeface="+mn-ea"/>
              </a:rPr>
              <a:t> GmbH</a:t>
            </a:r>
          </a:p>
          <a:p>
            <a:r>
              <a:rPr lang="en-US" sz="2500" b="1" dirty="0">
                <a:solidFill>
                  <a:srgbClr val="E6007E"/>
                </a:solidFill>
                <a:latin typeface="Quicksand"/>
                <a:ea typeface="+mn-ea"/>
              </a:rPr>
              <a:t>Hans Urban</a:t>
            </a:r>
            <a:br>
              <a:rPr lang="en-US" sz="2500" b="1" dirty="0">
                <a:solidFill>
                  <a:schemeClr val="bg1"/>
                </a:solidFill>
                <a:effectLst/>
                <a:latin typeface="Quicksand" pitchFamily="2" charset="0"/>
                <a:ea typeface="Aptos" panose="020B0004020202020204" pitchFamily="34" charset="0"/>
                <a:cs typeface="Aptos" panose="020B0004020202020204" pitchFamily="34" charset="0"/>
              </a:rPr>
            </a:br>
            <a:endParaRPr lang="en-US" sz="2500" b="1" dirty="0">
              <a:solidFill>
                <a:schemeClr val="bg1"/>
              </a:solidFill>
              <a:effectLst/>
              <a:latin typeface="Quicksand" pitchFamily="2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endParaRPr lang="en-US" sz="2500" b="1" dirty="0">
              <a:solidFill>
                <a:schemeClr val="bg1"/>
              </a:solidFill>
              <a:latin typeface="Quicksand" pitchFamily="2" charset="0"/>
              <a:ea typeface="+mn-ea"/>
              <a:hlinkClick r:id="rId1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ero@urban-hans.de</a:t>
            </a:r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 </a:t>
            </a:r>
          </a:p>
          <a:p>
            <a:r>
              <a:rPr lang="de-DE" sz="2500" dirty="0">
                <a:solidFill>
                  <a:schemeClr val="bg1"/>
                </a:solidFill>
                <a:latin typeface="Quicksand"/>
                <a:ea typeface="+mn-ea"/>
              </a:rPr>
              <a:t>+49 176 5774 9747</a:t>
            </a:r>
          </a:p>
          <a:p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urban-hans.de</a:t>
            </a:r>
            <a:r>
              <a:rPr lang="it-IT" sz="2500" dirty="0">
                <a:solidFill>
                  <a:schemeClr val="bg1"/>
                </a:solidFill>
                <a:latin typeface="Quicksand"/>
                <a:ea typeface="+mn-ea"/>
              </a:rPr>
              <a:t> </a:t>
            </a:r>
          </a:p>
          <a:p>
            <a:endParaRPr lang="en-US" sz="3000" dirty="0">
              <a:solidFill>
                <a:schemeClr val="bg1"/>
              </a:solidFill>
              <a:latin typeface="Quicksand"/>
              <a:ea typeface="+mn-e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A2813DD-BBE9-6573-6F1A-2AA4FC07F3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3. </a:t>
            </a:r>
            <a:r>
              <a:rPr lang="en-US" dirty="0" err="1"/>
              <a:t>Juni</a:t>
            </a:r>
            <a:r>
              <a:rPr lang="en-US" dirty="0"/>
              <a:t> 2024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DA6D52-6E59-31A0-3F2D-80CC45C2279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Batteriegroßspeicher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F199CFF-8F36-2DE0-6DA4-8A48EE4E355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Parlamentarisches</a:t>
            </a:r>
            <a:r>
              <a:rPr lang="en-US" dirty="0"/>
              <a:t> </a:t>
            </a:r>
            <a:r>
              <a:rPr lang="en-US" dirty="0" err="1"/>
              <a:t>Frühstück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5567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96ABAB-63EF-6218-B32E-9FC968588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6686" y="905148"/>
            <a:ext cx="18644300" cy="710515"/>
          </a:xfrm>
        </p:spPr>
        <p:txBody>
          <a:bodyPr/>
          <a:lstStyle/>
          <a:p>
            <a:r>
              <a:rPr lang="de-DE" dirty="0"/>
              <a:t>Batteriegroßspeicher: Regulatorische Herausforderungen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DC988D83-DA30-4BDC-3502-6DC94C81B9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8887301"/>
              </p:ext>
            </p:extLst>
          </p:nvPr>
        </p:nvGraphicFramePr>
        <p:xfrm>
          <a:off x="1146686" y="2092529"/>
          <a:ext cx="17573252" cy="81575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455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3796B5D8FAC48FB8431CF8925E1DB6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8232367F22A4D79A6A6FC58434106B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A41F8566125E42DFBFDA6CF3DE2CB2E6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4E106EAFFF3413485A79ADFB48ABD9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D482ACCCE86849328B28B7E27A4F787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D482ACCCE86849328B28B7E27A4F787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500C5378CE4548BC9D4BEFD48DC3626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4EDD096FD1DF4367AD5EBB4653A740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55759CF7D66402584E25ED15F08A81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4EDD096FD1DF4367AD5EBB4653A740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55759CF7D66402584E25ED15F08A81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2941000FD7C4F659B7CEE856665D2AF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851512EA88A447AB600095C9B63F54B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AAA2C434F8C429A9BE816DC16167B5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BB6305E6E024C239873345C1F31C18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80C47FABB444135B2A570B2D6E687A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2941000FD7C4F659B7CEE856665D2AF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AAA2C434F8C429A9BE816DC16167B5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2941000FD7C4F659B7CEE856665D2AF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AAA2C434F8C429A9BE816DC16167B5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2941000FD7C4F659B7CEE856665D2AF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AAA2C434F8C429A9BE816DC16167B5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962C9E4CD6DA4FDEABEEE01B7D4D3468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D482ACCCE86849328B28B7E27A4F787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D482ACCCE86849328B28B7E27A4F787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4F78C13FEFC4F77A9141D7C6242CFF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DA8A4EEDF8A946B4B7875F64580DAC1C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13054D191DB4B55AF75DB9FF48BEF88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63E292300AB4826809143B8E516E5D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ED992A01A524B23AB56CD69D90D9A3F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980F9818D264E8A8307A8193ADE32FC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CEC9462E4574449A87362E41B0BE4C7F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1A9BB55D8F541D2B3B471E8F3AA243F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DA8A4EEDF8A946B4B7875F64580DAC1C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13054D191DB4B55AF75DB9FF48BEF88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63E292300AB4826809143B8E516E5D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DA8A4EEDF8A946B4B7875F64580DAC1C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13054D191DB4B55AF75DB9FF48BEF88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63E292300AB4826809143B8E516E5D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DA8A4EEDF8A946B4B7875F64580DAC1C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C7575C9149A4A9EAC96DBC0A7D6C1A9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13054D191DB4B55AF75DB9FF48BEF88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63E292300AB4826809143B8E516E5D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54BC71AFB5934FFBAA6F8BA4CF84CAD7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82B7D4B6A8BA4D23862B1AB0F30BEBF6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BB8BC0332F714D5FAE869B990CCD3046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C9BFA63FECF4150889386C22B983F6C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CFE00C2B66BD4580A2BEEF5FC15F07F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3FAFE9C0AD042AAA377D0816FE1A8E9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9D33DC0E1C1414A8A94245636F02E4F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AFC0E662CB4D431683C985CB87C1497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9D0F24D6E84C4E27817D9DE6F32E559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A95068FE81A4621AE4C63CBBB29A84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81A505FECF254CDEA8B3D286FAA97DA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D412386661B34EACB955C0636F894B9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FC063E21F9EE44A58980A67103615D7C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59110A461111419295C9E9DDED419C48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C60E0DAA08A4961854CE11D72341F2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592C192176C4958A5F7812567CFEA1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D97373E867A4BCF8D94CDABA427E0E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C2D59EFADDA4612991C0950B0BBDB0C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C60E0DAA08A4961854CE11D72341F2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2B45AC03C9F4C16A19BD90CCB45404B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592C192176C4958A5F7812567CFEA10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D97373E867A4BCF8D94CDABA427E0E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C2D59EFADDA4612991C0950B0BBDB0C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C60E0DAA08A4961854CE11D72341F2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592C192176C4958A5F7812567CFEA10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D97373E867A4BCF8D94CDABA427E0E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C2D59EFADDA4612991C0950B0BBDB0C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C60E0DAA08A4961854CE11D72341F2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592C192176C4958A5F7812567CFEA1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D97373E867A4BCF8D94CDABA427E0E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38BF7FC7E8C4410BAB782C4D102DB78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C2D59EFADDA4612991C0950B0BBDB0C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ABDB3189D5A64DA4A771640DAB33280C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D96699046C64D8FA21359747CD9BAD7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240FDAB6332479AB0D0AE60A3C40605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9B65361BE0E74075985BA851D602A897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3828BA29E6B4CC78D6E8F41473B22C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4DC7CE4CA0043C78AEFA8360F1DBF3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C93CA0859E184070A17E3C50387F036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F4FD08BE91FB4FA19FB49FF3584D573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831169EFFA3B44DB83F37432280937A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F4FDF60FF6AB4B62A509D441045B9F8F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52482CC79DD8434DABBB1B3A5B80436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80370974EB3C455C8379A1254199D7E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303595C7FF64D858516EBDE2C988FBB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F4F045A7FE7D4E5A8E2E580B92E386A5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68DCA1414554A65BF84F8C9ECE2BC1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078230AC3794210B21716A252025F28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C555CF069DF045759B610ADF6DE20DD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E33FD90898941D5AD64A782A4FF8289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B290E7542B349D290A5CEEA2562A39C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E284028A5BA4BAF810B483C8145FA7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F24AD870109248A486B858D95B2FE63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E284028A5BA4BAF810B483C8145FA77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8F7414EC118D403C9590735F3CC855FB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4B7BDFED55E4924B6A9286867299F6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5940B905240F4C9CABFD626AF9C9F46D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CF4E7F86E18F4424AC4F472A1A76B8B6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83EEFDBB659F4E3CA24A764A7ED70FEC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AEA24DB8B430403C84C506FD73B3F34B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A6494F061F1448D8B998B81EA948D74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DF4C8E19D3D40E6BCFB2AC9B0E6C866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0B6F5F2CD87449E88FBF8025E5CC6B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BE6A6211326C4FB1A75FFC722FCC4DA3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731926AED934C5AB641128B6109B0C3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7EEE65D38FB48EE8DFCB186E1B6B366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97B6449764EF42FA9F0311D8EFD26BD4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4D9C8D74678A4F00A5FCAE5FC9C60B57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8E0F19CEDF8540179E3AB7320142251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2693A41EE08405182C073E1E89FE75F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B0C944C78D0484A983A119BEB2E22F0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B649898B0CE45CC83D75D56DB3A4269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A339C43157834589B6DA377B16AE5D93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115A5B11D3242A690FE115E0A017CA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9A091AE876F444C5AFC249213BBE809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2F18E6077F144E7A113B1A9AA4DA8F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2F18E6077F144E7A113B1A9AA4DA8F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FCB08D9078A8477C90BF1A622A4078F0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FCB08D9078A8477C90BF1A622A4078F0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FD752F23B7FC416DBAE9022C41CC2E94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C6592272D81B4737BDC7B43298618D8D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511925162CA84BCFB8EE2443C86BFB21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23BFF942F6D4C3488840A8A86F564DF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F65662EE0774459DBFD2992A1E8C8F4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FA52D76C41724523AA0C5C371B2BEBA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4B9093373BFA4692B031D814F2C7681F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99190E72E0D944289E05A43C6CDB34A3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B8BE2E274D864DCDB977635199369368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A5BC2293B2F04A2589DA4B66D6EFE921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EE2C72EF542440AA279418500946F53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FRAGMENTID" val="9996FA1D71FC41FFB9519EC3E7D9A87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C330C9897D9246D881D3BDEB4034D1C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CD55EF1E10D415BAE90E269A0FB779C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730C5CC62314AD691DE20293B7B057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521DD707D6740FFB1AC0E2918D2C84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D0DE28ECD1B4C27B93D27B227F3772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B6354CFAB4D4D3482B0EA50E39BD67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DEFDC2CA1C474AB3B20C9AB5BFFC05D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9B8BA0FEC2104313B6E9FAD06AFC1F8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722EEA9927648939D616FB7618D38E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04415B2FC694BBAA1FF74363BD466A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B6E8BC62689E413A9A4924F6C7969B4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953216FC339442CB400C43DE00E282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A645B15CB9034E44A56FB807E5B33C6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A047081277B8498D977C7100F534E3A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DE0429EED394496297DCE164D48EE55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A8367AEABD644919875DD5F495E16A9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1A4BEF9303D41F4A95D6E6AE7F2F0E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8CB61D3A4EB94E6CB4AE4CA35820A74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9BB16C1E08754699851C73F7613FFEF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FE23E79197AC42B18DF8B95962DC1BB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E2A02AC8BE249789047187AF8FE9A3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D3CDC9ABF5384BA8AB7E0A6A9742CD2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C656E387C8B24AF29AAB03EC8424617B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7378BDDEA0F43D080788B4C72CCAFA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976EF0A9A944818BCA1024FEBDD496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AFBC93261D784427BEF94C96B621E6E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12FAC1753EB41BF8F77FA082F6FDAB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0792723AF01482CB098590CBB8B749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068C51779DB418D83303C6ACF4110E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0A93FEF35694E939A5D04ECF349CC9F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1B47505CBF14A019FC1340E945521F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0A36333BCF74531BDA9F8D03B55288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8BD6127554141F3A3CF9E5F88A0099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AFEF069C144A496D82E56307B1751B8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DA1B7548D45D47869803BB9A8E23DC99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39649BD1836403BB12EFE826B8E766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B42E98D98F1C403989EAC6F7CB9797B6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853A379265474C609A1A114C536FC8B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7E7D6F9B1044EAEA2F1FFA8CFAC32F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F56349FF8AAE4AE2AD433BA27A2110FC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F6BEC6F79034485931BC92F1E73B8F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B7143F8B12A64FEBA5CC960F7E877C1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821F88024A1F45E2BA8B14EEA7ADFD2B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D462736867F4D52808B22DE1121D866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78BD3B3E9134A0FA448D279459E296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418D281D212402680406FB5C77DC02B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9E7FA5EAE424703B7DC484DAF4E4CD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C1C4A410E477415CAD19BE59417E6C6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A78510AEE0544E45B8705F51981A0BB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9922BCC373F423FAFC57796A978F8A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0D479F15CB042DC8F846701A88CCFA8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9516FDDB348D4557B7A7F14F82B0F4EC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21B4274BC0F34916868E3AEF28B74B8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5EFD7ED4579342D2B2FAEE7249FD22CC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EB7AAE0F5FA49EBB362ACDB98BD435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A550D3A2DAD4058A920220582D2A2C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3796B5D8FAC48FB8431CF8925E1DB6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FEA78BF854E43F6A796F99254DB40DC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3048F239AEF408FBB5D77D800D4889F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B26A5BF2E8A43A589A95A10C6FD6E3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4AFD8214B3504F5EB15F105E846206E7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9491F6EF6DC4EB68701269AC63CB3F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51E2ECDDFA2449F1806742C4D9F30ECF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11D26A11CD934FA597D083F2B62DC72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7154F96EECA4894A092792779BD963B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3304E0A6675246D0B6E5E97B73D079A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FD3CF0C267AF482385C949FDCB29D81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723D33ECDE0E4D0EAFDCE150FD1A0DC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91F8CACE0F454402B838D1CB6985BD0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84C6E93FB6D14DED9D2AFF6BA023BA5F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40FA9F8626D4717995194098E39ABD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0E19F88E28CE4A28861C3E2AD72B3847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FE990AD66E134EC3A61445EFFFBBD66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EB4A011C73904CECB97A5ECE0D144037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C079A4B1F3CD4C36B696BB3C7885979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66B98548247F42B2B61160E62BB9E2D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9A73C49CA96C4B15B424311781444F97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LINEID" val="DFC94CEAD9EF4AAA82A47C2DC58CA6C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Office Theme">
  <a:themeElements>
    <a:clrScheme name="enspired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6007E"/>
      </a:accent1>
      <a:accent2>
        <a:srgbClr val="410099"/>
      </a:accent2>
      <a:accent3>
        <a:srgbClr val="99E6D8"/>
      </a:accent3>
      <a:accent4>
        <a:srgbClr val="20A7E0"/>
      </a:accent4>
      <a:accent5>
        <a:srgbClr val="004987"/>
      </a:accent5>
      <a:accent6>
        <a:srgbClr val="D1DE87"/>
      </a:accent6>
      <a:hlink>
        <a:srgbClr val="E3D93D"/>
      </a:hlink>
      <a:folHlink>
        <a:srgbClr val="DD9937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C 16:9">
  <a:themeElements>
    <a:clrScheme name="Firmwide">
      <a:dk1>
        <a:srgbClr val="003145"/>
      </a:dk1>
      <a:lt1>
        <a:srgbClr val="FFFFFF"/>
      </a:lt1>
      <a:dk2>
        <a:srgbClr val="136F55"/>
      </a:dk2>
      <a:lt2>
        <a:srgbClr val="5C6024"/>
      </a:lt2>
      <a:accent1>
        <a:srgbClr val="003145"/>
      </a:accent1>
      <a:accent2>
        <a:srgbClr val="5EB9CF"/>
      </a:accent2>
      <a:accent3>
        <a:srgbClr val="A7A9AC"/>
      </a:accent3>
      <a:accent4>
        <a:srgbClr val="75B39D"/>
      </a:accent4>
      <a:accent5>
        <a:srgbClr val="891B2D"/>
      </a:accent5>
      <a:accent6>
        <a:srgbClr val="1D8BB5"/>
      </a:accent6>
      <a:hlink>
        <a:srgbClr val="FB5A17"/>
      </a:hlink>
      <a:folHlink>
        <a:srgbClr val="FB5A1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 algn="l">
          <a:defRPr sz="1600" dirty="0" smtClean="0"/>
        </a:defPPr>
      </a:lstStyle>
    </a:txDef>
  </a:objectDefaults>
  <a:extraClrSchemeLst/>
  <a:custClrLst>
    <a:custClr name="Blue">
      <a:srgbClr val="003145"/>
    </a:custClr>
    <a:custClr name="Orange">
      <a:srgbClr val="FB5A17"/>
    </a:custClr>
    <a:custClr name="Red">
      <a:srgbClr val="4E2E2D"/>
    </a:custClr>
    <a:custClr name="Blue">
      <a:srgbClr val="007AC3"/>
    </a:custClr>
    <a:custClr name="Red">
      <a:srgbClr val="891B2D"/>
    </a:custClr>
    <a:custClr name="Green">
      <a:srgbClr val="5C6224"/>
    </a:custClr>
    <a:custClr name="Green">
      <a:srgbClr val="B5A300"/>
    </a:custClr>
    <a:custClr name="Green">
      <a:srgbClr val="71AB00"/>
    </a:custClr>
    <a:custClr name="Purple">
      <a:srgbClr val="531948"/>
    </a:custClr>
    <a:custClr name="Green">
      <a:srgbClr val="136F55"/>
    </a:custClr>
    <a:custClr name="Green">
      <a:srgbClr val="75B39D"/>
    </a:custClr>
    <a:custClr name="Blue">
      <a:srgbClr val="1D8BB5"/>
    </a:custClr>
    <a:custClr name="Blue">
      <a:srgbClr val="5EB9CF"/>
    </a:custClr>
    <a:custClr name="Grey">
      <a:srgbClr val="A7A9AC"/>
    </a:custClr>
    <a:custClr name="Yellow">
      <a:srgbClr val="FECF21"/>
    </a:custClr>
    <a:custClr name="Orange">
      <a:srgbClr val="DFA300"/>
    </a:custClr>
  </a:custClrLst>
  <a:extLst>
    <a:ext uri="{05A4C25C-085E-4340-85A3-A5531E510DB2}">
      <thm15:themeFamily xmlns:thm15="http://schemas.microsoft.com/office/thememl/2012/main" name="Presentation.potx" id="{7CE86525-0294-4A6E-B5DB-A6B419AFF39D}" vid="{C615C174-0067-422E-9B7C-3D30CD5CE6D3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0b1cb9a-0794-443e-8f3f-f5678ca672f5">
      <Terms xmlns="http://schemas.microsoft.com/office/infopath/2007/PartnerControls"/>
    </lcf76f155ced4ddcb4097134ff3c332f>
    <TaxCatchAll xmlns="b0e8e8f1-9ca5-4ad1-ba29-762fc0c4fe7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3F45D6E64B4024D9E52AF3C0EF5A1A0" ma:contentTypeVersion="15" ma:contentTypeDescription="Ein neues Dokument erstellen." ma:contentTypeScope="" ma:versionID="d5fae5b1a8070d6f46d71752a12048fa">
  <xsd:schema xmlns:xsd="http://www.w3.org/2001/XMLSchema" xmlns:xs="http://www.w3.org/2001/XMLSchema" xmlns:p="http://schemas.microsoft.com/office/2006/metadata/properties" xmlns:ns2="b0b1cb9a-0794-443e-8f3f-f5678ca672f5" xmlns:ns3="b0e8e8f1-9ca5-4ad1-ba29-762fc0c4fe74" targetNamespace="http://schemas.microsoft.com/office/2006/metadata/properties" ma:root="true" ma:fieldsID="a7fff1863c356f35930704a260ee0775" ns2:_="" ns3:_="">
    <xsd:import namespace="b0b1cb9a-0794-443e-8f3f-f5678ca672f5"/>
    <xsd:import namespace="b0e8e8f1-9ca5-4ad1-ba29-762fc0c4fe7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b1cb9a-0794-443e-8f3f-f5678ca672f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f76ccd7d-7403-497a-af3b-1cd0729afa6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e8e8f1-9ca5-4ad1-ba29-762fc0c4fe74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2aa48503-4e22-4dcf-bf60-0659d97c5ece}" ma:internalName="TaxCatchAll" ma:showField="CatchAllData" ma:web="b0e8e8f1-9ca5-4ad1-ba29-762fc0c4fe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6F2565F-319D-4B2E-8088-FF65F2054825}">
  <ds:schemaRefs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purl.org/dc/dcmitype/"/>
    <ds:schemaRef ds:uri="b0e8e8f1-9ca5-4ad1-ba29-762fc0c4fe74"/>
    <ds:schemaRef ds:uri="http://purl.org/dc/terms/"/>
    <ds:schemaRef ds:uri="http://www.w3.org/XML/1998/namespace"/>
    <ds:schemaRef ds:uri="http://schemas.microsoft.com/office/infopath/2007/PartnerControls"/>
    <ds:schemaRef ds:uri="b0b1cb9a-0794-443e-8f3f-f5678ca672f5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E5EC1D8E-BA04-4B41-80A8-EA38C95BE6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0b1cb9a-0794-443e-8f3f-f5678ca672f5"/>
    <ds:schemaRef ds:uri="b0e8e8f1-9ca5-4ad1-ba29-762fc0c4fe7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271104A-E645-4E9E-868C-71407CAD7162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b15cd16-9566-44b6-9423-a7d2201f2cda}" enabled="0" method="" siteId="{fb15cd16-9566-44b6-9423-a7d2201f2cd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80</Words>
  <Application>Microsoft Office PowerPoint</Application>
  <PresentationFormat>Benutzerdefiniert</PresentationFormat>
  <Paragraphs>164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7" baseType="lpstr">
      <vt:lpstr>Arial</vt:lpstr>
      <vt:lpstr>Calibri</vt:lpstr>
      <vt:lpstr>Quicksand</vt:lpstr>
      <vt:lpstr>Quicksand-SemiBold</vt:lpstr>
      <vt:lpstr>Wingdings</vt:lpstr>
      <vt:lpstr>Office Theme</vt:lpstr>
      <vt:lpstr>3_Office Theme</vt:lpstr>
      <vt:lpstr>OC 16:9</vt:lpstr>
      <vt:lpstr>think-cell Slide</vt:lpstr>
      <vt:lpstr>PowerPoint-Präsentation</vt:lpstr>
      <vt:lpstr>Motivation &amp; Vorgehen</vt:lpstr>
      <vt:lpstr>Zentrale Ergebnisse I/II</vt:lpstr>
      <vt:lpstr>Zentrale Ergebnisse II/II</vt:lpstr>
      <vt:lpstr>Info - Backup</vt:lpstr>
      <vt:lpstr>PowerPoint-Präsentation</vt:lpstr>
      <vt:lpstr>Parlamentarisches Frühstück</vt:lpstr>
      <vt:lpstr>Batteriegroßspeicher: Regulatorische Herausforderungen</vt:lpstr>
    </vt:vector>
  </TitlesOfParts>
  <Manager/>
  <Company>enspired GmbH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spired - the future of energy trading</dc:title>
  <dc:subject/>
  <dc:creator>Jürgen Pfalzer</dc:creator>
  <cp:keywords/>
  <dc:description/>
  <cp:lastModifiedBy>Hannah Attallah</cp:lastModifiedBy>
  <cp:revision>164</cp:revision>
  <dcterms:created xsi:type="dcterms:W3CDTF">2023-04-17T13:08:16Z</dcterms:created>
  <dcterms:modified xsi:type="dcterms:W3CDTF">2024-06-14T08:25:1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4-17T10:00:00Z</vt:filetime>
  </property>
  <property fmtid="{D5CDD505-2E9C-101B-9397-08002B2CF9AE}" pid="3" name="Creator">
    <vt:lpwstr>Adobe InDesign 18.2 (Macintosh)</vt:lpwstr>
  </property>
  <property fmtid="{D5CDD505-2E9C-101B-9397-08002B2CF9AE}" pid="4" name="LastSaved">
    <vt:filetime>2023-04-17T10:00:00Z</vt:filetime>
  </property>
  <property fmtid="{D5CDD505-2E9C-101B-9397-08002B2CF9AE}" pid="5" name="Producer">
    <vt:lpwstr>Adobe PDF Library 17.0</vt:lpwstr>
  </property>
  <property fmtid="{D5CDD505-2E9C-101B-9397-08002B2CF9AE}" pid="6" name="ContentTypeId">
    <vt:lpwstr>0x01010033F45D6E64B4024D9E52AF3C0EF5A1A0</vt:lpwstr>
  </property>
  <property fmtid="{D5CDD505-2E9C-101B-9397-08002B2CF9AE}" pid="7" name="MediaServiceImageTags">
    <vt:lpwstr/>
  </property>
</Properties>
</file>